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4" r:id="rId2"/>
    <p:sldMasterId id="2147483675" r:id="rId3"/>
  </p:sldMasterIdLst>
  <p:notesMasterIdLst>
    <p:notesMasterId r:id="rId23"/>
  </p:notesMasterIdLst>
  <p:sldIdLst>
    <p:sldId id="521" r:id="rId4"/>
    <p:sldId id="528" r:id="rId5"/>
    <p:sldId id="1120" r:id="rId6"/>
    <p:sldId id="529" r:id="rId7"/>
    <p:sldId id="530" r:id="rId8"/>
    <p:sldId id="526" r:id="rId9"/>
    <p:sldId id="525" r:id="rId10"/>
    <p:sldId id="527" r:id="rId11"/>
    <p:sldId id="524" r:id="rId12"/>
    <p:sldId id="451" r:id="rId13"/>
    <p:sldId id="438" r:id="rId14"/>
    <p:sldId id="452" r:id="rId15"/>
    <p:sldId id="256" r:id="rId16"/>
    <p:sldId id="321" r:id="rId17"/>
    <p:sldId id="323" r:id="rId18"/>
    <p:sldId id="322" r:id="rId19"/>
    <p:sldId id="522" r:id="rId20"/>
    <p:sldId id="531" r:id="rId21"/>
    <p:sldId id="324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660"/>
  </p:normalViewPr>
  <p:slideViewPr>
    <p:cSldViewPr snapToGrid="0">
      <p:cViewPr varScale="1">
        <p:scale>
          <a:sx n="97" d="100"/>
          <a:sy n="97" d="100"/>
        </p:scale>
        <p:origin x="579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el Austin" userId="3998cb16-87f2-4756-8230-6f32e1b03fbf" providerId="ADAL" clId="{EF69118C-59AF-42B4-A5BE-E101A7C86B68}"/>
    <pc:docChg chg="custSel delSld modSld">
      <pc:chgData name="Joel Austin" userId="3998cb16-87f2-4756-8230-6f32e1b03fbf" providerId="ADAL" clId="{EF69118C-59AF-42B4-A5BE-E101A7C86B68}" dt="2023-03-23T12:43:40.701" v="45" actId="20577"/>
      <pc:docMkLst>
        <pc:docMk/>
      </pc:docMkLst>
      <pc:sldChg chg="modSp mod">
        <pc:chgData name="Joel Austin" userId="3998cb16-87f2-4756-8230-6f32e1b03fbf" providerId="ADAL" clId="{EF69118C-59AF-42B4-A5BE-E101A7C86B68}" dt="2023-03-23T12:43:40.701" v="45" actId="20577"/>
        <pc:sldMkLst>
          <pc:docMk/>
          <pc:sldMk cId="3493548150" sldId="324"/>
        </pc:sldMkLst>
        <pc:spChg chg="mod">
          <ac:chgData name="Joel Austin" userId="3998cb16-87f2-4756-8230-6f32e1b03fbf" providerId="ADAL" clId="{EF69118C-59AF-42B4-A5BE-E101A7C86B68}" dt="2023-03-23T12:43:40.701" v="45" actId="20577"/>
          <ac:spMkLst>
            <pc:docMk/>
            <pc:sldMk cId="3493548150" sldId="324"/>
            <ac:spMk id="3" creationId="{7D2AA35F-C962-077B-50E7-568B52A8B15D}"/>
          </ac:spMkLst>
        </pc:spChg>
      </pc:sldChg>
      <pc:sldChg chg="modSp mod">
        <pc:chgData name="Joel Austin" userId="3998cb16-87f2-4756-8230-6f32e1b03fbf" providerId="ADAL" clId="{EF69118C-59AF-42B4-A5BE-E101A7C86B68}" dt="2023-03-23T12:42:22.762" v="7" actId="20577"/>
        <pc:sldMkLst>
          <pc:docMk/>
          <pc:sldMk cId="3258737484" sldId="521"/>
        </pc:sldMkLst>
        <pc:spChg chg="mod">
          <ac:chgData name="Joel Austin" userId="3998cb16-87f2-4756-8230-6f32e1b03fbf" providerId="ADAL" clId="{EF69118C-59AF-42B4-A5BE-E101A7C86B68}" dt="2023-03-23T12:42:11.854" v="0" actId="6549"/>
          <ac:spMkLst>
            <pc:docMk/>
            <pc:sldMk cId="3258737484" sldId="521"/>
            <ac:spMk id="3" creationId="{00000000-0000-0000-0000-000000000000}"/>
          </ac:spMkLst>
        </pc:spChg>
        <pc:spChg chg="mod">
          <ac:chgData name="Joel Austin" userId="3998cb16-87f2-4756-8230-6f32e1b03fbf" providerId="ADAL" clId="{EF69118C-59AF-42B4-A5BE-E101A7C86B68}" dt="2023-03-23T12:42:22.762" v="7" actId="20577"/>
          <ac:spMkLst>
            <pc:docMk/>
            <pc:sldMk cId="3258737484" sldId="521"/>
            <ac:spMk id="4" creationId="{00000000-0000-0000-0000-000000000000}"/>
          </ac:spMkLst>
        </pc:spChg>
      </pc:sldChg>
      <pc:sldChg chg="del">
        <pc:chgData name="Joel Austin" userId="3998cb16-87f2-4756-8230-6f32e1b03fbf" providerId="ADAL" clId="{EF69118C-59AF-42B4-A5BE-E101A7C86B68}" dt="2023-03-23T12:43:16.216" v="8" actId="47"/>
        <pc:sldMkLst>
          <pc:docMk/>
          <pc:sldMk cId="1608673469" sldId="523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A08177-6837-45AF-8BBF-B4314121DC75}" type="datetimeFigureOut">
              <a:rPr lang="en-US" smtClean="0"/>
              <a:t>3/2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411590-45D1-4AA3-909A-E748745134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6412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804C88B-D4EF-47E7-8F6C-5C3BBF0BFA8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60324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1200" kern="1200" dirty="0">
                <a:solidFill>
                  <a:schemeClr val="tx1"/>
                </a:solidFill>
                <a:effectLst/>
                <a:latin typeface="Arial" charset="0"/>
                <a:ea typeface="Arial" charset="0"/>
                <a:cs typeface="Arial" charset="0"/>
              </a:rPr>
              <a:t>Put in referr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Arial" charset="0"/>
                <a:ea typeface="Arial" charset="0"/>
                <a:cs typeface="Arial" charset="0"/>
              </a:rPr>
              <a:t>Product name + vers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Arial" charset="0"/>
                <a:ea typeface="Arial" charset="0"/>
                <a:cs typeface="Arial" charset="0"/>
              </a:rPr>
              <a:t>Product pic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kern="1200" dirty="0"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  <a:p>
            <a:r>
              <a:rPr lang="en-US" noProof="0" dirty="0"/>
              <a:t>In contrast to the Customer Product Presentation, the Sales Enabling Presentation shall not be limited to a specific quantity of slides.</a:t>
            </a:r>
          </a:p>
          <a:p>
            <a:r>
              <a:rPr lang="en-US" noProof="0" dirty="0"/>
              <a:t>Actually the objective to enable our Sales Force (including) Distribution Partners at best level and comprehensively defines the number of slides required to reach this objective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---------------------------------------------------------------------------------------------------</a:t>
            </a:r>
          </a:p>
          <a:p>
            <a:endParaRPr lang="en-US" noProof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kern="1200" dirty="0"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804C88B-D4EF-47E7-8F6C-5C3BBF0BFA8A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78748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31E21BF-80AF-4882-8A97-22A6CD4FEF8F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12965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Folienbildplatzhalt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22530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de-DE" dirty="0"/>
          </a:p>
        </p:txBody>
      </p:sp>
      <p:sp>
        <p:nvSpPr>
          <p:cNvPr id="22531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430AD2A-6997-49EC-BBF4-E66B1235F227}" type="slidenum">
              <a:rPr lang="de-DE" smtClean="0">
                <a:solidFill>
                  <a:prstClr val="black"/>
                </a:solidFill>
              </a:rPr>
              <a:pPr/>
              <a:t>11</a:t>
            </a:fld>
            <a:endParaRPr lang="de-DE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882151-954E-3AC7-9548-0A9EAB3772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7B7533F-5682-BB13-14DF-6610257B1D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DE53FC-E3FE-7264-4553-84CC61DC2D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394E78-6A07-4874-A6B5-F8084C3E9D57}" type="datetimeFigureOut">
              <a:rPr lang="en-US" smtClean="0"/>
              <a:t>3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11E3C9-765A-5A37-1E84-FE239E55A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27943E-2EE5-1028-E9D5-88D1B1533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B224C-6D97-49E8-9FBD-EC99EB759E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63146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F5348B-5B56-FD05-CA20-5DEA8C3D1D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CFB6AB-F74C-9BFA-8211-27E2ECFA98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7DD4C6-21EE-2697-580D-1250D50D5F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394E78-6A07-4874-A6B5-F8084C3E9D57}" type="datetimeFigureOut">
              <a:rPr lang="en-US" smtClean="0"/>
              <a:t>3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6B262B-2780-C9E6-3415-EE361BCB7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524EE7-2D66-3556-AB50-ED5BA2C944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B224C-6D97-49E8-9FBD-EC99EB759E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4319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7F3AD66-65E1-A92B-8778-6C593712735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9C7FA70-5ED7-88B6-652E-3993811D74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C85A64-56E6-1123-2930-B2B101A9C6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394E78-6A07-4874-A6B5-F8084C3E9D57}" type="datetimeFigureOut">
              <a:rPr lang="en-US" smtClean="0"/>
              <a:t>3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4AA45A-BF96-1B34-7CE0-BBF119123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DA5B70-0806-95E1-3A67-C7C81F941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B224C-6D97-49E8-9FBD-EC99EB759E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8892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 mit Logo: dataF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ctrTitle" hasCustomPrompt="1"/>
          </p:nvPr>
        </p:nvSpPr>
        <p:spPr>
          <a:xfrm>
            <a:off x="336000" y="163200"/>
            <a:ext cx="8640320" cy="57750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lang="de-DE" sz="3200" b="1" kern="1200" smtClean="0">
                <a:solidFill>
                  <a:schemeClr val="accent1"/>
                </a:solidFill>
                <a:latin typeface="+mj-lt"/>
                <a:ea typeface="+mn-ea"/>
                <a:cs typeface="Arial" charset="0"/>
              </a:defRPr>
            </a:lvl1pPr>
          </a:lstStyle>
          <a:p>
            <a:r>
              <a:rPr lang="en-US" dirty="0"/>
              <a:t>Headline/Sub-Headline 24 Pt, 1-zeilig</a:t>
            </a:r>
            <a:endParaRPr lang="de-DE" sz="3733" b="1" dirty="0">
              <a:solidFill>
                <a:srgbClr val="0068B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29742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fzählung mit Logo: dataF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34434" y="1123952"/>
            <a:ext cx="7393748" cy="5185369"/>
          </a:xfrm>
          <a:prstGeom prst="rect">
            <a:avLst/>
          </a:prstGeom>
        </p:spPr>
        <p:txBody>
          <a:bodyPr lIns="0" tIns="0" rIns="0" bIns="0"/>
          <a:lstStyle>
            <a:lvl1pPr marL="380990" marR="0" indent="-380990" algn="l" defTabSz="1219170" rtl="0" eaLnBrk="1" fontAlgn="base" latinLnBrk="0" hangingPunct="1">
              <a:lnSpc>
                <a:spcPct val="100000"/>
              </a:lnSpc>
              <a:spcBef>
                <a:spcPts val="16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 sz="2133"/>
            </a:lvl1pPr>
            <a:lvl2pPr marL="990575" marR="0" indent="-38099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tabLst/>
              <a:defRPr sz="2133"/>
            </a:lvl2pPr>
            <a:lvl3pPr marL="1600160" marR="0" indent="-38099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SzTx/>
              <a:buFont typeface="Symbol" panose="05050102010706020507" pitchFamily="18" charset="2"/>
              <a:buChar char="-"/>
              <a:tabLst/>
              <a:defRPr/>
            </a:lvl3pPr>
          </a:lstStyle>
          <a:p>
            <a:pPr marL="285750" indent="-285750">
              <a:spcBef>
                <a:spcPts val="1200"/>
              </a:spcBef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de-DE" sz="2133" dirty="0">
                <a:latin typeface="+mn-lt"/>
              </a:rPr>
              <a:t>Ebene 1  16 Pt. ZAB: einfach, </a:t>
            </a:r>
            <a:r>
              <a:rPr lang="de-DE" sz="2133" dirty="0" err="1">
                <a:latin typeface="+mn-lt"/>
              </a:rPr>
              <a:t>A.v</a:t>
            </a:r>
            <a:r>
              <a:rPr lang="de-DE" sz="2133" dirty="0">
                <a:latin typeface="+mn-lt"/>
              </a:rPr>
              <a:t>. 12 Pt, </a:t>
            </a:r>
            <a:r>
              <a:rPr lang="de-DE" sz="2133" dirty="0" err="1">
                <a:latin typeface="+mn-lt"/>
              </a:rPr>
              <a:t>A.n.</a:t>
            </a:r>
            <a:r>
              <a:rPr lang="de-DE" sz="2133" dirty="0">
                <a:latin typeface="+mn-lt"/>
              </a:rPr>
              <a:t> 0 Pt </a:t>
            </a:r>
          </a:p>
          <a:p>
            <a:pPr marL="1066773" lvl="1" indent="-457189">
              <a:spcBef>
                <a:spcPts val="0"/>
              </a:spcBef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de-DE" sz="2133" dirty="0">
                <a:latin typeface="+mn-lt"/>
              </a:rPr>
              <a:t>Ebene 2 16 Pt. ZAB: einfach, </a:t>
            </a:r>
            <a:r>
              <a:rPr lang="de-DE" sz="2133" dirty="0" err="1">
                <a:latin typeface="+mn-lt"/>
              </a:rPr>
              <a:t>A.v</a:t>
            </a:r>
            <a:r>
              <a:rPr lang="de-DE" sz="2133" dirty="0">
                <a:latin typeface="+mn-lt"/>
              </a:rPr>
              <a:t>. 0 Pt, </a:t>
            </a:r>
            <a:r>
              <a:rPr lang="de-DE" sz="2133" dirty="0" err="1">
                <a:latin typeface="+mn-lt"/>
              </a:rPr>
              <a:t>A.n.</a:t>
            </a:r>
            <a:r>
              <a:rPr lang="de-DE" sz="2133" dirty="0">
                <a:latin typeface="+mn-lt"/>
              </a:rPr>
              <a:t> 0 Pt </a:t>
            </a:r>
          </a:p>
          <a:p>
            <a:pPr marL="1676358" lvl="2" indent="-457189">
              <a:buClr>
                <a:schemeClr val="tx1">
                  <a:lumMod val="50000"/>
                </a:schemeClr>
              </a:buClr>
              <a:buFont typeface="Symbol" panose="05050102010706020507" pitchFamily="18" charset="2"/>
              <a:buChar char="-"/>
            </a:pPr>
            <a:r>
              <a:rPr lang="de-DE" sz="2133" dirty="0">
                <a:latin typeface="+mn-lt"/>
              </a:rPr>
              <a:t>Ebene 3 14 Pt, ZAB: einfach, </a:t>
            </a:r>
            <a:r>
              <a:rPr lang="de-DE" sz="2133" dirty="0" err="1">
                <a:latin typeface="+mn-lt"/>
              </a:rPr>
              <a:t>A.v</a:t>
            </a:r>
            <a:r>
              <a:rPr lang="de-DE" sz="2133" dirty="0">
                <a:latin typeface="+mn-lt"/>
              </a:rPr>
              <a:t>. 0 Pt., </a:t>
            </a:r>
            <a:r>
              <a:rPr lang="de-DE" sz="2133" dirty="0" err="1">
                <a:latin typeface="+mn-lt"/>
              </a:rPr>
              <a:t>A.n.</a:t>
            </a:r>
            <a:r>
              <a:rPr lang="de-DE" sz="2133" dirty="0">
                <a:latin typeface="+mn-lt"/>
              </a:rPr>
              <a:t> 0 Pt </a:t>
            </a:r>
          </a:p>
          <a:p>
            <a:pPr marL="1676358" lvl="2" indent="-457189">
              <a:buClr>
                <a:schemeClr val="tx1">
                  <a:lumMod val="50000"/>
                </a:schemeClr>
              </a:buClr>
              <a:buFont typeface="Symbol" panose="05050102010706020507" pitchFamily="18" charset="2"/>
              <a:buChar char="-"/>
            </a:pPr>
            <a:r>
              <a:rPr lang="de-DE" sz="2133" dirty="0">
                <a:latin typeface="+mn-lt"/>
              </a:rPr>
              <a:t>Ebene 3 </a:t>
            </a:r>
          </a:p>
          <a:p>
            <a:pPr marL="1066773" lvl="1" indent="-457189"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de-DE" sz="2133" dirty="0">
                <a:latin typeface="+mn-lt"/>
              </a:rPr>
              <a:t>Ebene 2</a:t>
            </a:r>
          </a:p>
          <a:p>
            <a:pPr marL="1066773" lvl="1" indent="-457189"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de-DE" sz="2133" dirty="0">
                <a:latin typeface="+mn-lt"/>
              </a:rPr>
              <a:t>Ebene 2</a:t>
            </a:r>
          </a:p>
          <a:p>
            <a:pPr marL="285750" indent="-285750">
              <a:spcBef>
                <a:spcPts val="1200"/>
              </a:spcBef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de-DE" sz="2133" dirty="0">
                <a:latin typeface="+mn-lt"/>
              </a:rPr>
              <a:t>Ebene 1</a:t>
            </a:r>
          </a:p>
          <a:p>
            <a:pPr marL="990575" lvl="1" indent="-380990"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de-DE" sz="2133" dirty="0">
                <a:latin typeface="+mn-lt"/>
              </a:rPr>
              <a:t>Ebene 2 </a:t>
            </a:r>
          </a:p>
          <a:p>
            <a:pPr marL="1600160" lvl="2" indent="-380990">
              <a:buClr>
                <a:schemeClr val="tx1">
                  <a:lumMod val="50000"/>
                </a:schemeClr>
              </a:buClr>
              <a:buFont typeface="Symbol" panose="05050102010706020507" pitchFamily="18" charset="2"/>
              <a:buChar char="-"/>
            </a:pPr>
            <a:r>
              <a:rPr lang="de-DE" sz="2133" dirty="0">
                <a:latin typeface="+mn-lt"/>
              </a:rPr>
              <a:t>Ebene 3   </a:t>
            </a:r>
            <a:endParaRPr lang="de-DE" sz="1867" dirty="0">
              <a:latin typeface="+mn-lt"/>
            </a:endParaRPr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4193" y="1123952"/>
            <a:ext cx="4031588" cy="5185369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lang="de-DE" sz="2667" b="0" kern="1200" baseline="0">
                <a:solidFill>
                  <a:srgbClr val="CC2AA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algn="ctr"/>
            <a:r>
              <a:rPr lang="de-DE" dirty="0">
                <a:solidFill>
                  <a:srgbClr val="CC2AA2"/>
                </a:solidFill>
                <a:latin typeface="Calibri" panose="020F0502020204030204" pitchFamily="34" charset="0"/>
              </a:rPr>
              <a:t>Bild</a:t>
            </a:r>
            <a:br>
              <a:rPr lang="de-DE" dirty="0">
                <a:solidFill>
                  <a:srgbClr val="CC2AA2"/>
                </a:solidFill>
                <a:latin typeface="Calibri" panose="020F0502020204030204" pitchFamily="34" charset="0"/>
              </a:rPr>
            </a:br>
            <a:r>
              <a:rPr lang="de-DE" dirty="0">
                <a:solidFill>
                  <a:srgbClr val="CC2AA2"/>
                </a:solidFill>
                <a:latin typeface="Calibri" panose="020F0502020204030204" pitchFamily="34" charset="0"/>
              </a:rPr>
              <a:t>(Größe und Position</a:t>
            </a:r>
            <a:br>
              <a:rPr lang="de-DE" dirty="0">
                <a:solidFill>
                  <a:srgbClr val="CC2AA2"/>
                </a:solidFill>
                <a:latin typeface="Calibri" panose="020F0502020204030204" pitchFamily="34" charset="0"/>
              </a:rPr>
            </a:br>
            <a:r>
              <a:rPr lang="de-DE" dirty="0">
                <a:solidFill>
                  <a:srgbClr val="CC2AA2"/>
                </a:solidFill>
                <a:latin typeface="Calibri" panose="020F0502020204030204" pitchFamily="34" charset="0"/>
              </a:rPr>
              <a:t>bedarfsabhängig)</a:t>
            </a:r>
          </a:p>
        </p:txBody>
      </p:sp>
      <p:sp>
        <p:nvSpPr>
          <p:cNvPr id="6" name="Titel 1"/>
          <p:cNvSpPr>
            <a:spLocks noGrp="1"/>
          </p:cNvSpPr>
          <p:nvPr>
            <p:ph type="ctrTitle" hasCustomPrompt="1"/>
          </p:nvPr>
        </p:nvSpPr>
        <p:spPr>
          <a:xfrm>
            <a:off x="334433" y="163770"/>
            <a:ext cx="7387200" cy="76889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lang="de-DE" sz="3200" b="1" kern="1200" smtClean="0">
                <a:solidFill>
                  <a:schemeClr val="accent1"/>
                </a:solidFill>
                <a:latin typeface="+mj-lt"/>
                <a:ea typeface="+mn-ea"/>
                <a:cs typeface="Arial" charset="0"/>
              </a:defRPr>
            </a:lvl1pPr>
          </a:lstStyle>
          <a:p>
            <a:r>
              <a:rPr lang="en-US" dirty="0"/>
              <a:t>Headline/Sub-Headline 24 Pt, 1-zeilig</a:t>
            </a:r>
            <a:endParaRPr lang="de-DE" sz="3733" b="1" dirty="0">
              <a:solidFill>
                <a:srgbClr val="0068B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78515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5872274" y="2660915"/>
            <a:ext cx="6080377" cy="6775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lang="de-DE" sz="5333" b="1" kern="0" dirty="0">
                <a:solidFill>
                  <a:srgbClr val="00559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335361" y="356659"/>
            <a:ext cx="4799673" cy="470429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lang="de-DE" sz="5867" b="1" kern="1200">
                <a:solidFill>
                  <a:srgbClr val="CC2AA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2" hasCustomPrompt="1"/>
          </p:nvPr>
        </p:nvSpPr>
        <p:spPr>
          <a:xfrm>
            <a:off x="5872274" y="3490471"/>
            <a:ext cx="6080377" cy="46511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lang="de-DE" sz="1867" kern="1200" dirty="0" smtClean="0">
                <a:solidFill>
                  <a:srgbClr val="1E1C19"/>
                </a:solidFill>
                <a:latin typeface="+mn-lt"/>
                <a:ea typeface="+mn-ea"/>
                <a:cs typeface="Arial" charset="0"/>
              </a:defRPr>
            </a:lvl1pPr>
          </a:lstStyle>
          <a:p>
            <a:r>
              <a:rPr lang="de-DE" sz="1867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Konkretisierender Untertitel</a:t>
            </a:r>
          </a:p>
        </p:txBody>
      </p:sp>
      <p:sp>
        <p:nvSpPr>
          <p:cNvPr id="29" name="Textplatzhalter 28" descr="Ort, TT. Monat JJJJ&#10;Veranstaltung / Anlass&#10;Präsentator&#10;"/>
          <p:cNvSpPr>
            <a:spLocks noGrp="1"/>
          </p:cNvSpPr>
          <p:nvPr>
            <p:ph type="body" sz="quarter" idx="13" hasCustomPrompt="1"/>
          </p:nvPr>
        </p:nvSpPr>
        <p:spPr>
          <a:xfrm>
            <a:off x="7696035" y="5740434"/>
            <a:ext cx="4256616" cy="7685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 sz="1600" kern="1200" smtClean="0">
                <a:solidFill>
                  <a:schemeClr val="accent1"/>
                </a:solidFill>
                <a:latin typeface="+mn-lt"/>
                <a:ea typeface="+mn-ea"/>
                <a:cs typeface="Arial" charset="0"/>
              </a:defRPr>
            </a:lvl1pPr>
          </a:lstStyle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68B4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Ort, TT. Monat JJJJ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68B4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68B4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Veranstaltung / Anlass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68B4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68B4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Präsentator</a:t>
            </a:r>
          </a:p>
        </p:txBody>
      </p:sp>
    </p:spTree>
    <p:extLst>
      <p:ext uri="{BB962C8B-B14F-4D97-AF65-F5344CB8AC3E}">
        <p14:creationId xmlns:p14="http://schemas.microsoft.com/office/powerpoint/2010/main" val="2135118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/>
    </mc:Choice>
    <mc:Fallback xmlns="">
      <p:transition spd="slow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59AA01-A57D-488A-9D24-DF6B358A1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912212-DE34-49B3-BF98-0813DFE054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0681EF-15FE-4D68-B4A9-4CCBB0FB4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883486-D6B1-4E14-BFF2-1A2B069AF413}" type="datetimeFigureOut">
              <a:rPr lang="en-US" smtClean="0"/>
              <a:t>3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F5AB00-C672-4F95-B474-741D9B8FD0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6D072B-73F5-4EDE-BE1A-CD3581F6D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9E823E-B43F-4616-9FC3-019C4BE01A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225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/>
    </mc:Choice>
    <mc:Fallback xmlns="">
      <p:transition spd="slow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6795062"/>
      </p:ext>
    </p:extLst>
  </p:cSld>
  <p:clrMapOvr>
    <a:masterClrMapping/>
  </p:clrMapOvr>
  <p:transition>
    <p:wip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2">
            <a:extLst>
              <a:ext uri="{FF2B5EF4-FFF2-40B4-BE49-F238E27FC236}">
                <a16:creationId xmlns:a16="http://schemas.microsoft.com/office/drawing/2014/main" id="{0CE14458-3A23-4EF3-92E7-16D8BF429C36}"/>
              </a:ext>
            </a:extLst>
          </p:cNvPr>
          <p:cNvSpPr/>
          <p:nvPr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rgbClr val="00648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Copyright © 2018 Softing IT Networks. All rights reserved. </a:t>
            </a:r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105B079E-32C6-4961-8C32-0AA0EF3FB3FB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65476A8-4C3F-4D41-9D92-CC782EA9CA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65476A8-4C3F-4D41-9D92-CC782EA9CA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2">
            <a:extLst>
              <a:ext uri="{FF2B5EF4-FFF2-40B4-BE49-F238E27FC236}">
                <a16:creationId xmlns:a16="http://schemas.microsoft.com/office/drawing/2014/main" id="{5422A987-C95B-4C4E-AFEA-BF62EDDB2B8E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rgbClr val="00648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28299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ufzählung mit Logo:Produktfamilie op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34434" y="1509184"/>
            <a:ext cx="9317567" cy="4800136"/>
          </a:xfrm>
          <a:prstGeom prst="rect">
            <a:avLst/>
          </a:prstGeom>
        </p:spPr>
        <p:txBody>
          <a:bodyPr lIns="0" tIns="0" rIns="0" bIns="0"/>
          <a:lstStyle>
            <a:lvl1pPr marL="380990" marR="0" indent="-380990" algn="l" defTabSz="1219170" rtl="0" eaLnBrk="1" fontAlgn="base" latinLnBrk="0" hangingPunct="1">
              <a:lnSpc>
                <a:spcPct val="100000"/>
              </a:lnSpc>
              <a:spcBef>
                <a:spcPts val="16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 sz="2133"/>
            </a:lvl1pPr>
            <a:lvl2pPr marL="990575" marR="0" indent="-38099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tabLst/>
              <a:defRPr sz="2133"/>
            </a:lvl2pPr>
            <a:lvl3pPr marL="1600160" marR="0" indent="-38099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SzTx/>
              <a:buFont typeface="Symbol" panose="05050102010706020507" pitchFamily="18" charset="2"/>
              <a:buChar char="-"/>
              <a:tabLst/>
              <a:defRPr/>
            </a:lvl3pPr>
          </a:lstStyle>
          <a:p>
            <a:pPr marL="285750" indent="-285750">
              <a:spcBef>
                <a:spcPts val="1200"/>
              </a:spcBef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de-DE" sz="2133" dirty="0">
                <a:latin typeface="+mn-lt"/>
              </a:rPr>
              <a:t>Ebene 1  16 Pt. ZAB: einfach, </a:t>
            </a:r>
            <a:r>
              <a:rPr lang="de-DE" sz="2133" dirty="0" err="1">
                <a:latin typeface="+mn-lt"/>
              </a:rPr>
              <a:t>A.v</a:t>
            </a:r>
            <a:r>
              <a:rPr lang="de-DE" sz="2133" dirty="0">
                <a:latin typeface="+mn-lt"/>
              </a:rPr>
              <a:t>. 12 Pt, </a:t>
            </a:r>
            <a:r>
              <a:rPr lang="de-DE" sz="2133" dirty="0" err="1">
                <a:latin typeface="+mn-lt"/>
              </a:rPr>
              <a:t>A.n.</a:t>
            </a:r>
            <a:r>
              <a:rPr lang="de-DE" sz="2133" dirty="0">
                <a:latin typeface="+mn-lt"/>
              </a:rPr>
              <a:t> 0 Pt </a:t>
            </a:r>
          </a:p>
          <a:p>
            <a:pPr marL="1066773" lvl="1" indent="-457189">
              <a:spcBef>
                <a:spcPts val="0"/>
              </a:spcBef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de-DE" sz="2133" dirty="0">
                <a:latin typeface="+mn-lt"/>
              </a:rPr>
              <a:t>Ebene 2 16 Pt. ZAB: einfach, </a:t>
            </a:r>
            <a:r>
              <a:rPr lang="de-DE" sz="2133" dirty="0" err="1">
                <a:latin typeface="+mn-lt"/>
              </a:rPr>
              <a:t>A.v</a:t>
            </a:r>
            <a:r>
              <a:rPr lang="de-DE" sz="2133" dirty="0">
                <a:latin typeface="+mn-lt"/>
              </a:rPr>
              <a:t>. 0 Pt, </a:t>
            </a:r>
            <a:r>
              <a:rPr lang="de-DE" sz="2133" dirty="0" err="1">
                <a:latin typeface="+mn-lt"/>
              </a:rPr>
              <a:t>A.n.</a:t>
            </a:r>
            <a:r>
              <a:rPr lang="de-DE" sz="2133" dirty="0">
                <a:latin typeface="+mn-lt"/>
              </a:rPr>
              <a:t> 0 Pt </a:t>
            </a:r>
          </a:p>
          <a:p>
            <a:pPr marL="1676358" lvl="2" indent="-457189">
              <a:buClr>
                <a:schemeClr val="tx1">
                  <a:lumMod val="50000"/>
                </a:schemeClr>
              </a:buClr>
              <a:buFont typeface="Symbol" panose="05050102010706020507" pitchFamily="18" charset="2"/>
              <a:buChar char="-"/>
            </a:pPr>
            <a:r>
              <a:rPr lang="de-DE" sz="2133" dirty="0">
                <a:latin typeface="+mn-lt"/>
              </a:rPr>
              <a:t>Ebene 3 14 Pt, ZAB: einfach, </a:t>
            </a:r>
            <a:r>
              <a:rPr lang="de-DE" sz="2133" dirty="0" err="1">
                <a:latin typeface="+mn-lt"/>
              </a:rPr>
              <a:t>A.v</a:t>
            </a:r>
            <a:r>
              <a:rPr lang="de-DE" sz="2133" dirty="0">
                <a:latin typeface="+mn-lt"/>
              </a:rPr>
              <a:t>. 0 Pt., </a:t>
            </a:r>
            <a:r>
              <a:rPr lang="de-DE" sz="2133" dirty="0" err="1">
                <a:latin typeface="+mn-lt"/>
              </a:rPr>
              <a:t>A.n.</a:t>
            </a:r>
            <a:r>
              <a:rPr lang="de-DE" sz="2133" dirty="0">
                <a:latin typeface="+mn-lt"/>
              </a:rPr>
              <a:t> 0 Pt </a:t>
            </a:r>
          </a:p>
          <a:p>
            <a:pPr marL="1676358" lvl="2" indent="-457189">
              <a:buClr>
                <a:schemeClr val="tx1">
                  <a:lumMod val="50000"/>
                </a:schemeClr>
              </a:buClr>
              <a:buFont typeface="Symbol" panose="05050102010706020507" pitchFamily="18" charset="2"/>
              <a:buChar char="-"/>
            </a:pPr>
            <a:r>
              <a:rPr lang="de-DE" sz="2133" dirty="0">
                <a:latin typeface="+mn-lt"/>
              </a:rPr>
              <a:t>Ebene 3 </a:t>
            </a:r>
          </a:p>
          <a:p>
            <a:pPr marL="1066773" lvl="1" indent="-457189"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de-DE" sz="2133" dirty="0">
                <a:latin typeface="+mn-lt"/>
              </a:rPr>
              <a:t>Ebene 2</a:t>
            </a:r>
          </a:p>
          <a:p>
            <a:pPr marL="1066773" lvl="1" indent="-457189"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de-DE" sz="2133" dirty="0">
                <a:latin typeface="+mn-lt"/>
              </a:rPr>
              <a:t>Ebene 2</a:t>
            </a:r>
          </a:p>
          <a:p>
            <a:pPr marL="285750" indent="-285750">
              <a:spcBef>
                <a:spcPts val="1200"/>
              </a:spcBef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de-DE" sz="2133" dirty="0">
                <a:latin typeface="+mn-lt"/>
              </a:rPr>
              <a:t>Ebene 1</a:t>
            </a:r>
          </a:p>
          <a:p>
            <a:pPr marL="990575" lvl="1" indent="-380990"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de-DE" sz="2133" dirty="0">
                <a:latin typeface="+mn-lt"/>
              </a:rPr>
              <a:t>Ebene 2 </a:t>
            </a:r>
          </a:p>
          <a:p>
            <a:pPr marL="1600160" lvl="2" indent="-380990">
              <a:buClr>
                <a:schemeClr val="tx1">
                  <a:lumMod val="50000"/>
                </a:schemeClr>
              </a:buClr>
              <a:buFont typeface="Symbol" panose="05050102010706020507" pitchFamily="18" charset="2"/>
              <a:buChar char="-"/>
            </a:pPr>
            <a:r>
              <a:rPr lang="de-DE" sz="2133" dirty="0">
                <a:latin typeface="+mn-lt"/>
              </a:rPr>
              <a:t>Ebene 3   </a:t>
            </a:r>
            <a:endParaRPr lang="de-DE" sz="1867" dirty="0">
              <a:latin typeface="+mn-lt"/>
            </a:endParaRPr>
          </a:p>
        </p:txBody>
      </p:sp>
      <p:sp>
        <p:nvSpPr>
          <p:cNvPr id="6" name="Titel 2"/>
          <p:cNvSpPr>
            <a:spLocks noGrp="1"/>
          </p:cNvSpPr>
          <p:nvPr>
            <p:ph type="title" hasCustomPrompt="1"/>
          </p:nvPr>
        </p:nvSpPr>
        <p:spPr>
          <a:xfrm>
            <a:off x="336000" y="321600"/>
            <a:ext cx="9312395" cy="993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200" b="1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Headline/Sub-Headline 24 Pt, 1-zeilig</a:t>
            </a:r>
          </a:p>
        </p:txBody>
      </p:sp>
    </p:spTree>
    <p:extLst>
      <p:ext uri="{BB962C8B-B14F-4D97-AF65-F5344CB8AC3E}">
        <p14:creationId xmlns:p14="http://schemas.microsoft.com/office/powerpoint/2010/main" val="3084456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ufzählung mit Logo:Produktfamilie op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1" y="1498600"/>
            <a:ext cx="8301567" cy="4800136"/>
          </a:xfrm>
          <a:prstGeom prst="rect">
            <a:avLst/>
          </a:prstGeom>
        </p:spPr>
        <p:txBody>
          <a:bodyPr lIns="0" tIns="0" rIns="0" bIns="0"/>
          <a:lstStyle>
            <a:lvl1pPr marL="380990" marR="0" indent="-380990" algn="l" defTabSz="1219170" rtl="0" eaLnBrk="1" fontAlgn="base" latinLnBrk="0" hangingPunct="1">
              <a:lnSpc>
                <a:spcPct val="100000"/>
              </a:lnSpc>
              <a:spcBef>
                <a:spcPts val="160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 sz="2133"/>
            </a:lvl1pPr>
            <a:lvl2pPr marL="990575" marR="0" indent="-38099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SzTx/>
              <a:buFont typeface="Arial" panose="020B0604020202020204" pitchFamily="34" charset="0"/>
              <a:buChar char="•"/>
              <a:tabLst/>
              <a:defRPr sz="2133"/>
            </a:lvl2pPr>
            <a:lvl3pPr marL="1600160" marR="0" indent="-38099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50000"/>
                </a:schemeClr>
              </a:buClr>
              <a:buSzTx/>
              <a:buFont typeface="Symbol" panose="05050102010706020507" pitchFamily="18" charset="2"/>
              <a:buChar char="-"/>
              <a:tabLst/>
              <a:defRPr/>
            </a:lvl3pPr>
          </a:lstStyle>
          <a:p>
            <a:pPr marL="285750" indent="-285750">
              <a:spcBef>
                <a:spcPts val="1200"/>
              </a:spcBef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de-DE" sz="2133" dirty="0">
                <a:latin typeface="+mn-lt"/>
              </a:rPr>
              <a:t>Ebene 1  16 Pt. ZAB: einfach, </a:t>
            </a:r>
            <a:r>
              <a:rPr lang="de-DE" sz="2133" dirty="0" err="1">
                <a:latin typeface="+mn-lt"/>
              </a:rPr>
              <a:t>A.v</a:t>
            </a:r>
            <a:r>
              <a:rPr lang="de-DE" sz="2133" dirty="0">
                <a:latin typeface="+mn-lt"/>
              </a:rPr>
              <a:t>. 12 Pt, </a:t>
            </a:r>
            <a:r>
              <a:rPr lang="de-DE" sz="2133" dirty="0" err="1">
                <a:latin typeface="+mn-lt"/>
              </a:rPr>
              <a:t>A.n.</a:t>
            </a:r>
            <a:r>
              <a:rPr lang="de-DE" sz="2133" dirty="0">
                <a:latin typeface="+mn-lt"/>
              </a:rPr>
              <a:t> 0 Pt </a:t>
            </a:r>
          </a:p>
          <a:p>
            <a:pPr marL="1066773" lvl="1" indent="-457189">
              <a:spcBef>
                <a:spcPts val="0"/>
              </a:spcBef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de-DE" sz="2133" dirty="0">
                <a:latin typeface="+mn-lt"/>
              </a:rPr>
              <a:t>Ebene 2 16 Pt. ZAB: einfach, </a:t>
            </a:r>
            <a:r>
              <a:rPr lang="de-DE" sz="2133" dirty="0" err="1">
                <a:latin typeface="+mn-lt"/>
              </a:rPr>
              <a:t>A.v</a:t>
            </a:r>
            <a:r>
              <a:rPr lang="de-DE" sz="2133" dirty="0">
                <a:latin typeface="+mn-lt"/>
              </a:rPr>
              <a:t>. 0 Pt, </a:t>
            </a:r>
            <a:r>
              <a:rPr lang="de-DE" sz="2133" dirty="0" err="1">
                <a:latin typeface="+mn-lt"/>
              </a:rPr>
              <a:t>A.n.</a:t>
            </a:r>
            <a:r>
              <a:rPr lang="de-DE" sz="2133" dirty="0">
                <a:latin typeface="+mn-lt"/>
              </a:rPr>
              <a:t> 0 Pt </a:t>
            </a:r>
          </a:p>
          <a:p>
            <a:pPr marL="1676358" lvl="2" indent="-457189">
              <a:buClr>
                <a:schemeClr val="tx1">
                  <a:lumMod val="50000"/>
                </a:schemeClr>
              </a:buClr>
              <a:buFont typeface="Symbol" panose="05050102010706020507" pitchFamily="18" charset="2"/>
              <a:buChar char="-"/>
            </a:pPr>
            <a:r>
              <a:rPr lang="de-DE" sz="2133" dirty="0">
                <a:latin typeface="+mn-lt"/>
              </a:rPr>
              <a:t>Ebene 3 14 Pt, ZAB: einfach, </a:t>
            </a:r>
            <a:r>
              <a:rPr lang="de-DE" sz="2133" dirty="0" err="1">
                <a:latin typeface="+mn-lt"/>
              </a:rPr>
              <a:t>A.v</a:t>
            </a:r>
            <a:r>
              <a:rPr lang="de-DE" sz="2133" dirty="0">
                <a:latin typeface="+mn-lt"/>
              </a:rPr>
              <a:t>. 0 Pt., </a:t>
            </a:r>
            <a:r>
              <a:rPr lang="de-DE" sz="2133" dirty="0" err="1">
                <a:latin typeface="+mn-lt"/>
              </a:rPr>
              <a:t>A.n.</a:t>
            </a:r>
            <a:r>
              <a:rPr lang="de-DE" sz="2133" dirty="0">
                <a:latin typeface="+mn-lt"/>
              </a:rPr>
              <a:t> 0 Pt </a:t>
            </a:r>
          </a:p>
          <a:p>
            <a:pPr marL="1676358" lvl="2" indent="-457189">
              <a:buClr>
                <a:schemeClr val="tx1">
                  <a:lumMod val="50000"/>
                </a:schemeClr>
              </a:buClr>
              <a:buFont typeface="Symbol" panose="05050102010706020507" pitchFamily="18" charset="2"/>
              <a:buChar char="-"/>
            </a:pPr>
            <a:r>
              <a:rPr lang="de-DE" sz="2133" dirty="0">
                <a:latin typeface="+mn-lt"/>
              </a:rPr>
              <a:t>Ebene 3 </a:t>
            </a:r>
          </a:p>
          <a:p>
            <a:pPr marL="1066773" lvl="1" indent="-457189"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de-DE" sz="2133" dirty="0">
                <a:latin typeface="+mn-lt"/>
              </a:rPr>
              <a:t>Ebene 2</a:t>
            </a:r>
          </a:p>
          <a:p>
            <a:pPr marL="1066773" lvl="1" indent="-457189"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de-DE" sz="2133" dirty="0">
                <a:latin typeface="+mn-lt"/>
              </a:rPr>
              <a:t>Ebene 2</a:t>
            </a:r>
          </a:p>
          <a:p>
            <a:pPr marL="285750" indent="-285750">
              <a:spcBef>
                <a:spcPts val="1200"/>
              </a:spcBef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de-DE" sz="2133" dirty="0">
                <a:latin typeface="+mn-lt"/>
              </a:rPr>
              <a:t>Ebene 1</a:t>
            </a:r>
          </a:p>
          <a:p>
            <a:pPr marL="990575" lvl="1" indent="-380990"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de-DE" sz="2133" dirty="0">
                <a:latin typeface="+mn-lt"/>
              </a:rPr>
              <a:t>Ebene 2 </a:t>
            </a:r>
          </a:p>
          <a:p>
            <a:pPr marL="1600160" lvl="2" indent="-380990">
              <a:buClr>
                <a:schemeClr val="tx1">
                  <a:lumMod val="50000"/>
                </a:schemeClr>
              </a:buClr>
              <a:buFont typeface="Symbol" panose="05050102010706020507" pitchFamily="18" charset="2"/>
              <a:buChar char="-"/>
            </a:pPr>
            <a:r>
              <a:rPr lang="de-DE" sz="2133" dirty="0">
                <a:latin typeface="+mn-lt"/>
              </a:rPr>
              <a:t>Ebene 3   </a:t>
            </a:r>
            <a:endParaRPr lang="de-DE" sz="1867" dirty="0">
              <a:latin typeface="+mn-lt"/>
            </a:endParaRPr>
          </a:p>
        </p:txBody>
      </p:sp>
      <p:sp>
        <p:nvSpPr>
          <p:cNvPr id="6" name="Titel 2"/>
          <p:cNvSpPr>
            <a:spLocks noGrp="1"/>
          </p:cNvSpPr>
          <p:nvPr>
            <p:ph type="title" hasCustomPrompt="1"/>
          </p:nvPr>
        </p:nvSpPr>
        <p:spPr>
          <a:xfrm>
            <a:off x="336000" y="321600"/>
            <a:ext cx="9312395" cy="993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200" b="1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Headline/Sub-Headline 24 Pt, 1-zeilig</a:t>
            </a:r>
          </a:p>
        </p:txBody>
      </p:sp>
    </p:spTree>
    <p:extLst>
      <p:ext uri="{BB962C8B-B14F-4D97-AF65-F5344CB8AC3E}">
        <p14:creationId xmlns:p14="http://schemas.microsoft.com/office/powerpoint/2010/main" val="93945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0407C-C70B-E159-1527-10EA7C6F4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1FF6A0-CC21-EFF0-143F-398714409C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CE681-9CCB-7E7E-3934-CE2A387764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394E78-6A07-4874-A6B5-F8084C3E9D57}" type="datetimeFigureOut">
              <a:rPr lang="en-US" smtClean="0"/>
              <a:t>3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C0874E-96C2-5289-4192-49B74F540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CDA094-A78D-2344-9373-6579DD4036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B224C-6D97-49E8-9FBD-EC99EB759E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3553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ufzählung mit Logo:Produktfamilie op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2"/>
          <p:cNvSpPr>
            <a:spLocks noGrp="1"/>
          </p:cNvSpPr>
          <p:nvPr>
            <p:ph type="title" hasCustomPrompt="1"/>
          </p:nvPr>
        </p:nvSpPr>
        <p:spPr>
          <a:xfrm>
            <a:off x="336000" y="321600"/>
            <a:ext cx="9312395" cy="993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200" b="1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Headline/Sub-Headline 24 Pt, 1-zeilig</a:t>
            </a:r>
          </a:p>
        </p:txBody>
      </p:sp>
    </p:spTree>
    <p:extLst>
      <p:ext uri="{BB962C8B-B14F-4D97-AF65-F5344CB8AC3E}">
        <p14:creationId xmlns:p14="http://schemas.microsoft.com/office/powerpoint/2010/main" val="1690734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0FA9E5-6744-4841-888F-9E7CC0C2B7EC}" type="datetimeFigureOut">
              <a:rPr lang="en-US" smtClean="0"/>
              <a:pPr/>
              <a:t>3/2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EAE4A8-A6E5-453E-B946-FB774B73F4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8588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6949851" y="2736000"/>
            <a:ext cx="1824203" cy="172819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lang="de-DE" sz="2667" b="1" kern="1200">
                <a:solidFill>
                  <a:srgbClr val="CC2AA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de-DE" dirty="0"/>
              <a:t>Foto</a:t>
            </a:r>
            <a:br>
              <a:rPr lang="de-DE" dirty="0"/>
            </a:br>
            <a:r>
              <a:rPr lang="de-DE" dirty="0"/>
              <a:t>optiona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2" hasCustomPrompt="1"/>
          </p:nvPr>
        </p:nvSpPr>
        <p:spPr>
          <a:xfrm>
            <a:off x="3024000" y="2736436"/>
            <a:ext cx="3888000" cy="172819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de-DE" sz="1867" b="0" i="0" u="none" strike="noStrike" kern="1200" cap="none" spc="0" normalizeH="0" baseline="0" noProof="0" dirty="0" smtClean="0">
                <a:ln>
                  <a:noFill/>
                </a:ln>
                <a:solidFill>
                  <a:srgbClr val="393C3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Arial" charset="0"/>
              </a:defRPr>
            </a:lvl1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srgbClr val="393C3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Vorname Name</a:t>
            </a:r>
            <a:b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srgbClr val="393C3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</a:br>
            <a: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srgbClr val="393C3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Position</a:t>
            </a:r>
            <a:b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srgbClr val="393C3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</a:br>
            <a: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srgbClr val="393C3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Geschäftsbereich XXX</a:t>
            </a:r>
            <a:b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srgbClr val="393C3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</a:br>
            <a: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srgbClr val="393C3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Tel: +49 XX XXX XXXX</a:t>
            </a:r>
            <a:b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srgbClr val="393C3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</a:br>
            <a: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srgbClr val="393C3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Mobil: +49 00000000 </a:t>
            </a:r>
            <a: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srgbClr val="CC2AA2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(optional)</a:t>
            </a:r>
            <a:b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srgbClr val="CC2AA2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</a:br>
            <a: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srgbClr val="393C3F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E-Mail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023659" y="2040069"/>
            <a:ext cx="7968885" cy="62084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733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Vielen Dank für die Aufmerksamkeit!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024000" y="4549075"/>
            <a:ext cx="5760000" cy="3831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133" u="sng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Webadresse</a:t>
            </a:r>
          </a:p>
        </p:txBody>
      </p:sp>
    </p:spTree>
    <p:extLst>
      <p:ext uri="{BB962C8B-B14F-4D97-AF65-F5344CB8AC3E}">
        <p14:creationId xmlns:p14="http://schemas.microsoft.com/office/powerpoint/2010/main" val="508601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/>
    </mc:Choice>
    <mc:Fallback xmlns="">
      <p:transition spd="slow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342901" y="283634"/>
            <a:ext cx="4799673" cy="470429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lang="de-DE" sz="5867" b="1" kern="1200">
                <a:solidFill>
                  <a:srgbClr val="CC2AA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2" hasCustomPrompt="1"/>
          </p:nvPr>
        </p:nvSpPr>
        <p:spPr>
          <a:xfrm>
            <a:off x="5872275" y="3490471"/>
            <a:ext cx="5985293" cy="46511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lang="de-DE" sz="1867" kern="1200" dirty="0" smtClean="0">
                <a:solidFill>
                  <a:srgbClr val="1E1C19"/>
                </a:solidFill>
                <a:latin typeface="+mn-lt"/>
                <a:ea typeface="+mn-ea"/>
                <a:cs typeface="Arial" charset="0"/>
              </a:defRPr>
            </a:lvl1pPr>
          </a:lstStyle>
          <a:p>
            <a:r>
              <a:rPr lang="de-DE" sz="1867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Konkretisierender Untertitel</a:t>
            </a:r>
          </a:p>
        </p:txBody>
      </p:sp>
      <p:sp>
        <p:nvSpPr>
          <p:cNvPr id="29" name="Textplatzhalter 28" descr="Ort, TT. Monat JJJJ&#10;Veranstaltung / Anlass&#10;Präsentator&#10;"/>
          <p:cNvSpPr>
            <a:spLocks noGrp="1"/>
          </p:cNvSpPr>
          <p:nvPr>
            <p:ph type="body" sz="quarter" idx="13" hasCustomPrompt="1"/>
          </p:nvPr>
        </p:nvSpPr>
        <p:spPr>
          <a:xfrm>
            <a:off x="7601620" y="5740434"/>
            <a:ext cx="4256616" cy="7685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 sz="1600" kern="1200" smtClean="0">
                <a:solidFill>
                  <a:schemeClr val="accent1"/>
                </a:solidFill>
                <a:latin typeface="+mn-lt"/>
                <a:ea typeface="+mn-ea"/>
                <a:cs typeface="Arial" charset="0"/>
              </a:defRPr>
            </a:lvl1pPr>
          </a:lstStyle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68B4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Ort, TT. Monat JJJJ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68B4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68B4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Veranstaltung / Anlass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68B4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68B4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Präsentator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74539" y="2668837"/>
            <a:ext cx="5294379" cy="753567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lang="de-DE" sz="4267" b="1" kern="0" dirty="0" smtClean="0">
                <a:solidFill>
                  <a:srgbClr val="00559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Thema / Titel</a:t>
            </a:r>
          </a:p>
        </p:txBody>
      </p:sp>
    </p:spTree>
    <p:extLst>
      <p:ext uri="{BB962C8B-B14F-4D97-AF65-F5344CB8AC3E}">
        <p14:creationId xmlns:p14="http://schemas.microsoft.com/office/powerpoint/2010/main" val="1160216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altsverzeichnis -&gt;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23392" y="1916832"/>
            <a:ext cx="9739808" cy="3721968"/>
          </a:xfrm>
        </p:spPr>
        <p:txBody>
          <a:bodyPr/>
          <a:lstStyle>
            <a:lvl1pPr marL="457200" indent="-457200" algn="l">
              <a:buFont typeface="+mj-lt"/>
              <a:buAutoNum type="arabicPeriod"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14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75734" y="622301"/>
            <a:ext cx="8784167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918841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35360" y="2996952"/>
            <a:ext cx="11521280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000602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37948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449762-74B8-445C-AB4A-7518B52D3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236849-473A-4B3B-AB10-B44ED3FBD9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326000-3E12-4692-BAD5-1A16A4945C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17E8C-A8BD-4132-AF73-EA18E0FD72F3}" type="datetimeFigureOut">
              <a:rPr lang="en-US" smtClean="0"/>
              <a:t>3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D628E8-B6C9-45BB-A8FC-46D8EBC52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6258CB-148B-4B9C-97FA-DA2141CE74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476F17-43FE-4E4E-B2A2-3EAA3C7DD8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688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584F8-54AF-ECF2-298B-16E9FA8D7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82DF03-1CE7-E396-ED60-AD6F25C94C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8739AB-597B-6292-B44C-DFE24DAE6B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394E78-6A07-4874-A6B5-F8084C3E9D57}" type="datetimeFigureOut">
              <a:rPr lang="en-US" smtClean="0"/>
              <a:t>3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9BE7BA-3E86-8ED5-AD07-F2C3D8E215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29D308-0862-A5CD-8D7B-8BA9460AA6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B224C-6D97-49E8-9FBD-EC99EB759E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1779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D00124-0B83-6880-588E-E04D33C60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03FC6B-2AC4-84AF-5761-68F04DF5D6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5FA524-0B44-6F30-9589-DEFA4047D3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A5CC2FF-259F-C215-EC7C-A0BF3790CD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394E78-6A07-4874-A6B5-F8084C3E9D57}" type="datetimeFigureOut">
              <a:rPr lang="en-US" smtClean="0"/>
              <a:t>3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020971-600E-AF4E-79FC-C52727E88C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3D5996-39C6-FEEB-9197-502F7905E2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B224C-6D97-49E8-9FBD-EC99EB759E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1497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F3973C-4598-D890-BD21-5C6D8D76CB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461E67-DE27-8A7F-DB26-028FDD5CC2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24AAB5-58BB-6EA0-091E-B22A95DEF7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0D66BC-915A-1971-F038-B5B11B558C6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86A6A41-B58C-F2BD-B718-3683E8A42F0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35FBD02-1BF6-3FEE-F91F-87A0A43E3B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394E78-6A07-4874-A6B5-F8084C3E9D57}" type="datetimeFigureOut">
              <a:rPr lang="en-US" smtClean="0"/>
              <a:t>3/2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DE432D0-7DF9-D6EF-4CD0-FDF224860D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7768520-9622-308B-FFE2-866F268D76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B224C-6D97-49E8-9FBD-EC99EB759E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8029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009413-9E1E-6161-0288-88CE641FE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A388F6-1790-51EC-C14F-0D76D41CE1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394E78-6A07-4874-A6B5-F8084C3E9D57}" type="datetimeFigureOut">
              <a:rPr lang="en-US" smtClean="0"/>
              <a:t>3/2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A965D8-9961-6E7D-FC92-C9AE91D4A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8926E1-B0CF-529D-4D80-4A88365FD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B224C-6D97-49E8-9FBD-EC99EB759E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7753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3919EAF-244F-9A2D-AB8D-76E1DCABFC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394E78-6A07-4874-A6B5-F8084C3E9D57}" type="datetimeFigureOut">
              <a:rPr lang="en-US" smtClean="0"/>
              <a:t>3/2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D61A09-B426-ECD3-CFC3-6E200F7F8B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05AA74-DE28-BE51-6CD5-A26F20ADE8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B224C-6D97-49E8-9FBD-EC99EB759E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2512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CA221B-A4F4-BABC-F4D1-C06741EAD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890021-F44C-FBAF-ACD2-EAE140AC89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9A0F5E-0D11-1E55-633D-ED2230031B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D92FEC-1401-9E42-5611-8BEC0F434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394E78-6A07-4874-A6B5-F8084C3E9D57}" type="datetimeFigureOut">
              <a:rPr lang="en-US" smtClean="0"/>
              <a:t>3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38EF21-B48F-0B21-0013-F331B836B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230A81-B210-7608-EAB6-B251E754B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B224C-6D97-49E8-9FBD-EC99EB759E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2817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5026B-FF75-34A4-B137-3955F2F7B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E7F86DA-797C-14D1-8904-DDFFC1A007E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59A790-EF07-824B-020D-F83CECEF0B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DB2524-6E76-3A55-1E19-FE1513EE3C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394E78-6A07-4874-A6B5-F8084C3E9D57}" type="datetimeFigureOut">
              <a:rPr lang="en-US" smtClean="0"/>
              <a:t>3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1CABBB-6769-63C4-414E-57A56D9172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68D758-998B-B90D-7F70-8CDD5C691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2B224C-6D97-49E8-9FBD-EC99EB759E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7001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029E456-5658-42BE-5B13-992E610A2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7D0877-FBEF-C0D1-102A-FB9081A708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37B088-D7CB-E053-A2BB-2D8F8B42A3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394E78-6A07-4874-A6B5-F8084C3E9D57}" type="datetimeFigureOut">
              <a:rPr lang="en-US" smtClean="0"/>
              <a:t>3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496E68-FD38-943A-9C86-D77144FD77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AA29A4-1385-829A-CDF5-C4E23EAA1D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2B224C-6D97-49E8-9FBD-EC99EB759E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488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0" y="6572412"/>
            <a:ext cx="12192000" cy="288000"/>
          </a:xfrm>
          <a:prstGeom prst="rect">
            <a:avLst/>
          </a:prstGeom>
          <a:solidFill>
            <a:srgbClr val="00539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B16E2D-29C3-4059-824F-F29B1F5CFB2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058400" y="177801"/>
            <a:ext cx="1845912" cy="60469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1465BED-307F-4461-A24E-56E5B972ABE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17601" y="5502701"/>
            <a:ext cx="2527300" cy="10668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FC742C8-93D6-43BD-82E3-85E0757198F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058400" y="177801"/>
            <a:ext cx="1845912" cy="604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179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</p:sldLayoutIdLst>
  <mc:AlternateContent xmlns:mc="http://schemas.openxmlformats.org/markup-compatibility/2006" xmlns:p14="http://schemas.microsoft.com/office/powerpoint/2010/main">
    <mc:Choice Requires="p14">
      <p:transition spd="slow" p14:dur="6000"/>
    </mc:Choice>
    <mc:Fallback xmlns="">
      <p:transition spd="slow"/>
    </mc:Fallback>
  </mc:AlternateContent>
  <p:hf sldNum="0" hdr="0" dt="0"/>
  <p:txStyles>
    <p:titleStyle>
      <a:lvl1pPr algn="l" rtl="0" eaLnBrk="1" fontAlgn="base" hangingPunct="1">
        <a:lnSpc>
          <a:spcPts val="5333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5333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charset="0"/>
          <a:ea typeface="Arial" charset="0"/>
          <a:cs typeface="Arial" charset="0"/>
        </a:defRPr>
      </a:lvl2pPr>
      <a:lvl3pPr algn="l" rtl="0" eaLnBrk="1" fontAlgn="base" hangingPunct="1">
        <a:lnSpc>
          <a:spcPts val="5333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charset="0"/>
          <a:ea typeface="Arial" charset="0"/>
          <a:cs typeface="Arial" charset="0"/>
        </a:defRPr>
      </a:lvl3pPr>
      <a:lvl4pPr algn="l" rtl="0" eaLnBrk="1" fontAlgn="base" hangingPunct="1">
        <a:lnSpc>
          <a:spcPts val="5333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algn="l" rtl="0" eaLnBrk="1" fontAlgn="base" hangingPunct="1">
        <a:lnSpc>
          <a:spcPts val="5333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609585" algn="l" rtl="0" eaLnBrk="1" fontAlgn="base" hangingPunct="1">
        <a:lnSpc>
          <a:spcPts val="5333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charset="0"/>
          <a:ea typeface="Arial" charset="0"/>
          <a:cs typeface="Arial" charset="0"/>
        </a:defRPr>
      </a:lvl6pPr>
      <a:lvl7pPr marL="1219170" algn="l" rtl="0" eaLnBrk="1" fontAlgn="base" hangingPunct="1">
        <a:lnSpc>
          <a:spcPts val="5333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charset="0"/>
          <a:ea typeface="Arial" charset="0"/>
          <a:cs typeface="Arial" charset="0"/>
        </a:defRPr>
      </a:lvl7pPr>
      <a:lvl8pPr marL="1828754" algn="l" rtl="0" eaLnBrk="1" fontAlgn="base" hangingPunct="1">
        <a:lnSpc>
          <a:spcPts val="5333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charset="0"/>
          <a:ea typeface="Arial" charset="0"/>
          <a:cs typeface="Arial" charset="0"/>
        </a:defRPr>
      </a:lvl8pPr>
      <a:lvl9pPr marL="2438339" algn="l" rtl="0" eaLnBrk="1" fontAlgn="base" hangingPunct="1">
        <a:lnSpc>
          <a:spcPts val="5333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charset="0"/>
          <a:ea typeface="Arial" charset="0"/>
          <a:cs typeface="Arial" charset="0"/>
        </a:defRPr>
      </a:lvl9pPr>
    </p:titleStyle>
    <p:bodyStyle>
      <a:lvl1pPr marL="457189" indent="-457189" algn="l" rtl="0" eaLnBrk="1" fontAlgn="base" hangingPunct="1">
        <a:lnSpc>
          <a:spcPts val="5333"/>
        </a:lnSpc>
        <a:spcBef>
          <a:spcPct val="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239178" indent="370408" algn="l" rtl="0" eaLnBrk="1" fontAlgn="base" hangingPunct="1">
        <a:lnSpc>
          <a:spcPts val="5333"/>
        </a:lnSpc>
        <a:spcBef>
          <a:spcPct val="0"/>
        </a:spcBef>
        <a:spcAft>
          <a:spcPct val="0"/>
        </a:spcAft>
        <a:buChar char="–"/>
        <a:defRPr sz="3200">
          <a:solidFill>
            <a:schemeClr val="tx1"/>
          </a:solidFill>
          <a:latin typeface="+mn-lt"/>
          <a:ea typeface="+mn-ea"/>
          <a:cs typeface="+mn-cs"/>
        </a:defRPr>
      </a:lvl2pPr>
      <a:lvl3pPr marL="1873204" indent="-304792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3pPr>
      <a:lvl4pPr marL="2417173" indent="-304792" algn="l" rtl="0" eaLnBrk="1" fontAlgn="base" hangingPunct="1">
        <a:spcBef>
          <a:spcPct val="20000"/>
        </a:spcBef>
        <a:spcAft>
          <a:spcPct val="0"/>
        </a:spcAft>
        <a:buChar char="–"/>
        <a:defRPr sz="2667">
          <a:solidFill>
            <a:schemeClr val="tx1"/>
          </a:solidFill>
          <a:latin typeface="+mn-lt"/>
          <a:ea typeface="+mn-ea"/>
          <a:cs typeface="+mn-cs"/>
        </a:defRPr>
      </a:lvl4pPr>
      <a:lvl5pPr marL="2961143" indent="-304792" algn="l" rtl="0" eaLnBrk="1" fontAlgn="base" hangingPunct="1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rtl="0" eaLnBrk="1" fontAlgn="base" hangingPunct="1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rtl="0" eaLnBrk="1" fontAlgn="base" hangingPunct="1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rtl="0" eaLnBrk="1" fontAlgn="base" hangingPunct="1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rtl="0" eaLnBrk="1" fontAlgn="base" hangingPunct="1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07534" y="2420938"/>
            <a:ext cx="9861551" cy="2293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75734" y="622301"/>
            <a:ext cx="8784167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408332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hf sldNum="0" hdr="0" dt="0"/>
  <p:txStyles>
    <p:titleStyle>
      <a:lvl1pPr algn="l" rtl="0" eaLnBrk="0" fontAlgn="base" hangingPunct="0">
        <a:lnSpc>
          <a:spcPts val="4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4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Arial" charset="0"/>
          <a:cs typeface="Arial" charset="0"/>
        </a:defRPr>
      </a:lvl2pPr>
      <a:lvl3pPr algn="l" rtl="0" eaLnBrk="0" fontAlgn="base" hangingPunct="0">
        <a:lnSpc>
          <a:spcPts val="4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Arial" charset="0"/>
          <a:cs typeface="Arial" charset="0"/>
        </a:defRPr>
      </a:lvl3pPr>
      <a:lvl4pPr algn="l" rtl="0" eaLnBrk="0" fontAlgn="base" hangingPunct="0">
        <a:lnSpc>
          <a:spcPts val="4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algn="l" rtl="0" eaLnBrk="0" fontAlgn="base" hangingPunct="0">
        <a:lnSpc>
          <a:spcPts val="4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457200" algn="l" rtl="0" fontAlgn="base">
        <a:lnSpc>
          <a:spcPts val="4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Arial" charset="0"/>
          <a:cs typeface="Arial" charset="0"/>
        </a:defRPr>
      </a:lvl6pPr>
      <a:lvl7pPr marL="914400" algn="l" rtl="0" fontAlgn="base">
        <a:lnSpc>
          <a:spcPts val="4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Arial" charset="0"/>
          <a:cs typeface="Arial" charset="0"/>
        </a:defRPr>
      </a:lvl7pPr>
      <a:lvl8pPr marL="1371600" algn="l" rtl="0" fontAlgn="base">
        <a:lnSpc>
          <a:spcPts val="4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Arial" charset="0"/>
          <a:cs typeface="Arial" charset="0"/>
        </a:defRPr>
      </a:lvl8pPr>
      <a:lvl9pPr marL="1828800" algn="l" rtl="0" fontAlgn="base">
        <a:lnSpc>
          <a:spcPts val="4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Arial" charset="0"/>
          <a:cs typeface="Arial" charset="0"/>
        </a:defRPr>
      </a:lvl9pPr>
    </p:titleStyle>
    <p:bodyStyle>
      <a:lvl1pPr algn="l" rtl="0" eaLnBrk="0" fontAlgn="base" hangingPunct="0">
        <a:lnSpc>
          <a:spcPts val="4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179388"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  <a:cs typeface="+mn-cs"/>
        </a:defRPr>
      </a:lvl2pPr>
      <a:lvl3pPr marL="1404938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3pPr>
      <a:lvl4pPr marL="181292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2220913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3" Type="http://schemas.openxmlformats.org/officeDocument/2006/relationships/image" Target="../media/image6.png"/><Relationship Id="rId21" Type="http://schemas.openxmlformats.org/officeDocument/2006/relationships/image" Target="../media/image22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" Type="http://schemas.openxmlformats.org/officeDocument/2006/relationships/image" Target="../media/image5.JPG"/><Relationship Id="rId16" Type="http://schemas.openxmlformats.org/officeDocument/2006/relationships/image" Target="../media/image18.png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27.xml"/><Relationship Id="rId6" Type="http://schemas.microsoft.com/office/2007/relationships/hdphoto" Target="../media/hdphoto1.wdp"/><Relationship Id="rId11" Type="http://schemas.openxmlformats.org/officeDocument/2006/relationships/image" Target="../media/image13.png"/><Relationship Id="rId5" Type="http://schemas.openxmlformats.org/officeDocument/2006/relationships/image" Target="../media/image8.png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19" Type="http://schemas.microsoft.com/office/2007/relationships/hdphoto" Target="../media/hdphoto2.wdp"/><Relationship Id="rId4" Type="http://schemas.openxmlformats.org/officeDocument/2006/relationships/image" Target="../media/image7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1422400" y="1397000"/>
            <a:ext cx="8801811" cy="2641600"/>
          </a:xfrm>
        </p:spPr>
        <p:txBody>
          <a:bodyPr/>
          <a:lstStyle/>
          <a:p>
            <a:pPr algn="ctr"/>
            <a:r>
              <a:rPr lang="en-US" sz="3733" dirty="0"/>
              <a:t>Introduction to Softing Inc. </a:t>
            </a:r>
            <a:endParaRPr lang="en-US" sz="320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10566401" y="6070600"/>
            <a:ext cx="1524000" cy="578304"/>
          </a:xfrm>
        </p:spPr>
        <p:txBody>
          <a:bodyPr/>
          <a:lstStyle/>
          <a:p>
            <a:r>
              <a:rPr lang="de-DE" dirty="0"/>
              <a:t>March 2023</a:t>
            </a:r>
            <a:br>
              <a:rPr lang="de-DE" dirty="0"/>
            </a:br>
            <a:endParaRPr lang="de-D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82AA93-4B9C-4CB3-B032-A70EC2C90397}"/>
              </a:ext>
            </a:extLst>
          </p:cNvPr>
          <p:cNvSpPr/>
          <p:nvPr/>
        </p:nvSpPr>
        <p:spPr>
          <a:xfrm>
            <a:off x="4064000" y="4825487"/>
            <a:ext cx="4064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005591">
                    <a:lumMod val="75000"/>
                  </a:srgbClr>
                </a:solidFill>
                <a:latin typeface="Arial" charset="0"/>
                <a:cs typeface="Arial" charset="0"/>
              </a:rPr>
              <a:t>Get Connected</a:t>
            </a:r>
            <a:r>
              <a:rPr lang="en-US" sz="2400" dirty="0">
                <a:solidFill>
                  <a:srgbClr val="005591">
                    <a:lumMod val="75000"/>
                  </a:srgbClr>
                </a:solidFill>
                <a:latin typeface="Arial" charset="0"/>
                <a:cs typeface="Arial" charset="0"/>
              </a:rPr>
              <a:t>			</a:t>
            </a:r>
            <a:r>
              <a:rPr lang="en-US" sz="2400" b="1" dirty="0">
                <a:solidFill>
                  <a:srgbClr val="005591">
                    <a:lumMod val="75000"/>
                  </a:srgbClr>
                </a:solidFill>
                <a:latin typeface="Arial" charset="0"/>
                <a:cs typeface="Arial" charset="0"/>
              </a:rPr>
              <a:t>Stay Connected</a:t>
            </a:r>
            <a:endParaRPr lang="en-US" sz="2400" dirty="0">
              <a:solidFill>
                <a:srgbClr val="005591">
                  <a:lumMod val="75000"/>
                </a:srgb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8737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Tm="12339"/>
    </mc:Choice>
    <mc:Fallback xmlns="">
      <p:transition spd="slow" advTm="12339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noFill/>
          <a:ln>
            <a:noFill/>
          </a:ln>
        </p:spPr>
        <p:txBody>
          <a:bodyPr/>
          <a:lstStyle/>
          <a:p>
            <a:pPr algn="l" rtl="0">
              <a:defRPr/>
            </a:pPr>
            <a:r>
              <a:rPr lang="en" b="1" i="0" u="none" baseline="0" dirty="0"/>
              <a:t>The “All-in-one” Data Integration Solution </a:t>
            </a:r>
            <a:endParaRPr sz="1333" dirty="0">
              <a:solidFill>
                <a:srgbClr val="FF0000"/>
              </a:solidFill>
            </a:endParaRPr>
          </a:p>
        </p:txBody>
      </p:sp>
      <p:sp>
        <p:nvSpPr>
          <p:cNvPr id="53" name="Abgerundetes Rechteck 52"/>
          <p:cNvSpPr/>
          <p:nvPr/>
        </p:nvSpPr>
        <p:spPr bwMode="auto">
          <a:xfrm>
            <a:off x="368299" y="5637245"/>
            <a:ext cx="11489268" cy="672075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rtl="0">
              <a:defRPr/>
            </a:pPr>
            <a:endParaRPr lang="en" sz="1333" b="1" dirty="0">
              <a:solidFill>
                <a:schemeClr val="tx1"/>
              </a:solidFill>
            </a:endParaRPr>
          </a:p>
        </p:txBody>
      </p:sp>
      <p:sp>
        <p:nvSpPr>
          <p:cNvPr id="54" name="Abgerundetes Rechteck 53"/>
          <p:cNvSpPr/>
          <p:nvPr/>
        </p:nvSpPr>
        <p:spPr bwMode="auto">
          <a:xfrm>
            <a:off x="8304246" y="5733257"/>
            <a:ext cx="2976033" cy="467172"/>
          </a:xfrm>
          <a:prstGeom prst="roundRect">
            <a:avLst>
              <a:gd name="adj" fmla="val 0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>
              <a:defRPr/>
            </a:pPr>
            <a:r>
              <a:rPr lang="en" sz="2400">
                <a:solidFill>
                  <a:schemeClr val="bg1"/>
                </a:solidFill>
                <a:latin typeface="Calibri" pitchFamily="34" charset="0"/>
              </a:rPr>
              <a:t>Multi-standard</a:t>
            </a:r>
            <a:endParaRPr lang="en" sz="2400" dirty="0"/>
          </a:p>
        </p:txBody>
      </p:sp>
      <p:sp>
        <p:nvSpPr>
          <p:cNvPr id="55" name="Abgerundetes Rechteck 54"/>
          <p:cNvSpPr/>
          <p:nvPr/>
        </p:nvSpPr>
        <p:spPr bwMode="auto">
          <a:xfrm>
            <a:off x="4559978" y="5733257"/>
            <a:ext cx="2976033" cy="467172"/>
          </a:xfrm>
          <a:prstGeom prst="roundRect">
            <a:avLst>
              <a:gd name="adj" fmla="val 0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/>
            <a:r>
              <a:rPr lang="en" sz="2400">
                <a:solidFill>
                  <a:schemeClr val="bg1"/>
                </a:solidFill>
                <a:latin typeface="Calibri" pitchFamily="34" charset="0"/>
              </a:rPr>
              <a:t>Easy-to-use</a:t>
            </a:r>
          </a:p>
        </p:txBody>
      </p:sp>
      <p:sp>
        <p:nvSpPr>
          <p:cNvPr id="57" name="Abgerundetes Rechteck 56"/>
          <p:cNvSpPr/>
          <p:nvPr/>
        </p:nvSpPr>
        <p:spPr bwMode="auto">
          <a:xfrm>
            <a:off x="815414" y="5733256"/>
            <a:ext cx="2976033" cy="467173"/>
          </a:xfrm>
          <a:prstGeom prst="roundRect">
            <a:avLst>
              <a:gd name="adj" fmla="val 0"/>
            </a:avLst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>
              <a:defRPr/>
            </a:pPr>
            <a:r>
              <a:rPr lang="en" sz="2400">
                <a:solidFill>
                  <a:schemeClr val="bg1"/>
                </a:solidFill>
                <a:latin typeface="Calibri" pitchFamily="34" charset="0"/>
              </a:rPr>
              <a:t>Flexible</a:t>
            </a:r>
            <a:endParaRPr lang="en" sz="2400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CB55A83-11C1-497C-8E18-84D99B56BF70}"/>
              </a:ext>
            </a:extLst>
          </p:cNvPr>
          <p:cNvGrpSpPr/>
          <p:nvPr/>
        </p:nvGrpSpPr>
        <p:grpSpPr>
          <a:xfrm>
            <a:off x="334435" y="1124744"/>
            <a:ext cx="11522205" cy="4320480"/>
            <a:chOff x="250826" y="843558"/>
            <a:chExt cx="8641654" cy="3240360"/>
          </a:xfrm>
        </p:grpSpPr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545E9184-79E2-459F-9D2D-942E3D84B42B}"/>
                </a:ext>
              </a:extLst>
            </p:cNvPr>
            <p:cNvSpPr/>
            <p:nvPr/>
          </p:nvSpPr>
          <p:spPr bwMode="auto">
            <a:xfrm>
              <a:off x="250826" y="843558"/>
              <a:ext cx="8641654" cy="3240360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rtl="0">
                <a:defRPr/>
              </a:pPr>
              <a:r>
                <a:rPr lang="de-DE" sz="2400" dirty="0"/>
                <a:t>      </a:t>
              </a:r>
            </a:p>
          </p:txBody>
        </p:sp>
        <p:sp>
          <p:nvSpPr>
            <p:cNvPr id="68" name="Abgerundetes Rechteck 101">
              <a:extLst>
                <a:ext uri="{FF2B5EF4-FFF2-40B4-BE49-F238E27FC236}">
                  <a16:creationId xmlns:a16="http://schemas.microsoft.com/office/drawing/2014/main" id="{2E987DF9-6F41-47CF-A8DD-6D320ACAAD0A}"/>
                </a:ext>
              </a:extLst>
            </p:cNvPr>
            <p:cNvSpPr/>
            <p:nvPr/>
          </p:nvSpPr>
          <p:spPr bwMode="auto">
            <a:xfrm>
              <a:off x="7380000" y="3636000"/>
              <a:ext cx="1440160" cy="288000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96000" anchor="ctr"/>
            <a:lstStyle/>
            <a:p>
              <a:pPr algn="r"/>
              <a:r>
                <a:rPr lang="de-DE" sz="1333" b="1" dirty="0">
                  <a:solidFill>
                    <a:schemeClr val="bg1"/>
                  </a:solidFill>
                </a:rPr>
                <a:t>Data File</a:t>
              </a:r>
            </a:p>
          </p:txBody>
        </p:sp>
        <p:sp>
          <p:nvSpPr>
            <p:cNvPr id="73" name="Abgerundetes Rechteck 65">
              <a:extLst>
                <a:ext uri="{FF2B5EF4-FFF2-40B4-BE49-F238E27FC236}">
                  <a16:creationId xmlns:a16="http://schemas.microsoft.com/office/drawing/2014/main" id="{3DF7A77E-650C-4411-8392-AB603CA54CD5}"/>
                </a:ext>
              </a:extLst>
            </p:cNvPr>
            <p:cNvSpPr/>
            <p:nvPr/>
          </p:nvSpPr>
          <p:spPr bwMode="auto">
            <a:xfrm>
              <a:off x="2682589" y="915566"/>
              <a:ext cx="3778821" cy="3096344"/>
            </a:xfrm>
            <a:prstGeom prst="roundRect">
              <a:avLst>
                <a:gd name="adj" fmla="val 0"/>
              </a:avLst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rtl="0">
                <a:defRPr/>
              </a:pPr>
              <a:endParaRPr lang="de-DE" sz="1333" b="1"/>
            </a:p>
            <a:p>
              <a:pPr algn="ctr" rtl="0">
                <a:defRPr/>
              </a:pPr>
              <a:endParaRPr lang="de-DE" sz="1333" b="1"/>
            </a:p>
            <a:p>
              <a:pPr algn="ctr" rtl="0">
                <a:defRPr/>
              </a:pPr>
              <a:endParaRPr lang="de-DE" sz="1333" b="1"/>
            </a:p>
            <a:p>
              <a:pPr algn="ctr" rtl="0">
                <a:defRPr/>
              </a:pPr>
              <a:endParaRPr lang="de-DE" sz="1333" b="1"/>
            </a:p>
            <a:p>
              <a:pPr algn="ctr" rtl="0">
                <a:defRPr/>
              </a:pPr>
              <a:endParaRPr lang="de-DE" sz="1333" b="1"/>
            </a:p>
            <a:p>
              <a:pPr algn="ctr" rtl="0">
                <a:defRPr/>
              </a:pPr>
              <a:endParaRPr lang="de-DE" sz="1333" b="1"/>
            </a:p>
            <a:p>
              <a:pPr algn="ctr" rtl="0">
                <a:defRPr/>
              </a:pPr>
              <a:endParaRPr lang="de-DE" sz="1333" b="1"/>
            </a:p>
            <a:p>
              <a:pPr algn="ctr" rtl="0">
                <a:defRPr/>
              </a:pPr>
              <a:endParaRPr lang="de-DE" sz="1333" b="1"/>
            </a:p>
            <a:p>
              <a:pPr algn="ctr" rtl="0">
                <a:defRPr/>
              </a:pPr>
              <a:endParaRPr lang="de-DE" sz="1333" b="1"/>
            </a:p>
            <a:p>
              <a:pPr algn="ctr" rtl="0">
                <a:defRPr/>
              </a:pPr>
              <a:endParaRPr lang="de-DE" sz="1333" b="1"/>
            </a:p>
            <a:p>
              <a:pPr algn="ctr" rtl="0">
                <a:defRPr/>
              </a:pPr>
              <a:endParaRPr lang="de-DE" sz="1333" b="1"/>
            </a:p>
            <a:p>
              <a:pPr algn="ctr" rtl="0">
                <a:defRPr/>
              </a:pPr>
              <a:endParaRPr lang="de-DE" sz="1333" b="1"/>
            </a:p>
            <a:p>
              <a:pPr algn="ctr" rtl="0">
                <a:defRPr/>
              </a:pPr>
              <a:endParaRPr lang="de-DE" sz="1333" b="1"/>
            </a:p>
            <a:p>
              <a:pPr algn="ctr" rtl="0">
                <a:defRPr/>
              </a:pPr>
              <a:endParaRPr lang="de-DE" sz="1333" b="1"/>
            </a:p>
            <a:p>
              <a:pPr algn="ctr" rtl="0">
                <a:defRPr/>
              </a:pPr>
              <a:endParaRPr lang="de-DE" sz="1333" b="1"/>
            </a:p>
            <a:p>
              <a:pPr algn="ctr" rtl="0">
                <a:defRPr/>
              </a:pPr>
              <a:endParaRPr lang="de-DE" sz="1333" b="1"/>
            </a:p>
          </p:txBody>
        </p:sp>
        <p:sp>
          <p:nvSpPr>
            <p:cNvPr id="75" name="Abgerundetes Rechteck 78">
              <a:extLst>
                <a:ext uri="{FF2B5EF4-FFF2-40B4-BE49-F238E27FC236}">
                  <a16:creationId xmlns:a16="http://schemas.microsoft.com/office/drawing/2014/main" id="{2D9486BC-2A2B-43B6-BFB9-68E468F88AD1}"/>
                </a:ext>
              </a:extLst>
            </p:cNvPr>
            <p:cNvSpPr/>
            <p:nvPr/>
          </p:nvSpPr>
          <p:spPr bwMode="auto">
            <a:xfrm>
              <a:off x="3651286" y="2714994"/>
              <a:ext cx="1823899" cy="326916"/>
            </a:xfrm>
            <a:prstGeom prst="roundRect">
              <a:avLst>
                <a:gd name="adj" fmla="val 0"/>
              </a:avLst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rtl="0">
                <a:defRPr/>
              </a:pPr>
              <a:r>
                <a:rPr lang="de-DE" sz="1333" b="1">
                  <a:solidFill>
                    <a:schemeClr val="bg1"/>
                  </a:solidFill>
                </a:rPr>
                <a:t>Exchange</a:t>
              </a:r>
            </a:p>
          </p:txBody>
        </p:sp>
        <p:sp>
          <p:nvSpPr>
            <p:cNvPr id="82" name="Abgerundetes Rechteck 79">
              <a:extLst>
                <a:ext uri="{FF2B5EF4-FFF2-40B4-BE49-F238E27FC236}">
                  <a16:creationId xmlns:a16="http://schemas.microsoft.com/office/drawing/2014/main" id="{C94F9882-139D-4E71-A840-04AF0AFF87F4}"/>
                </a:ext>
              </a:extLst>
            </p:cNvPr>
            <p:cNvSpPr/>
            <p:nvPr/>
          </p:nvSpPr>
          <p:spPr bwMode="auto">
            <a:xfrm>
              <a:off x="3651286" y="3093137"/>
              <a:ext cx="1823899" cy="326916"/>
            </a:xfrm>
            <a:prstGeom prst="roundRect">
              <a:avLst>
                <a:gd name="adj" fmla="val 0"/>
              </a:avLst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rtl="0">
                <a:defRPr/>
              </a:pPr>
              <a:r>
                <a:rPr lang="de-DE" sz="1333" b="1">
                  <a:solidFill>
                    <a:schemeClr val="bg1"/>
                  </a:solidFill>
                </a:rPr>
                <a:t>StoreAnd-</a:t>
              </a:r>
            </a:p>
            <a:p>
              <a:pPr algn="ctr" rtl="0">
                <a:defRPr/>
              </a:pPr>
              <a:r>
                <a:rPr lang="de-DE" sz="1333" b="1">
                  <a:solidFill>
                    <a:schemeClr val="bg1"/>
                  </a:solidFill>
                </a:rPr>
                <a:t>Forward</a:t>
              </a:r>
            </a:p>
          </p:txBody>
        </p:sp>
        <p:sp>
          <p:nvSpPr>
            <p:cNvPr id="83" name="Abgerundetes Rechteck 80">
              <a:extLst>
                <a:ext uri="{FF2B5EF4-FFF2-40B4-BE49-F238E27FC236}">
                  <a16:creationId xmlns:a16="http://schemas.microsoft.com/office/drawing/2014/main" id="{290561EA-3435-4BAC-9B0B-F103616D7F5C}"/>
                </a:ext>
              </a:extLst>
            </p:cNvPr>
            <p:cNvSpPr/>
            <p:nvPr/>
          </p:nvSpPr>
          <p:spPr bwMode="auto">
            <a:xfrm>
              <a:off x="3651286" y="3468970"/>
              <a:ext cx="1823899" cy="326916"/>
            </a:xfrm>
            <a:prstGeom prst="roundRect">
              <a:avLst>
                <a:gd name="adj" fmla="val 0"/>
              </a:avLst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rtl="0">
                <a:defRPr/>
              </a:pPr>
              <a:r>
                <a:rPr lang="de-DE" sz="1333" b="1">
                  <a:solidFill>
                    <a:schemeClr val="bg1"/>
                  </a:solidFill>
                </a:rPr>
                <a:t>Local Items</a:t>
              </a:r>
            </a:p>
          </p:txBody>
        </p:sp>
        <p:sp>
          <p:nvSpPr>
            <p:cNvPr id="84" name="Abgerundetes Rechteck 88">
              <a:extLst>
                <a:ext uri="{FF2B5EF4-FFF2-40B4-BE49-F238E27FC236}">
                  <a16:creationId xmlns:a16="http://schemas.microsoft.com/office/drawing/2014/main" id="{50BFAC42-8313-4A27-BB96-5EBF32A7F83E}"/>
                </a:ext>
              </a:extLst>
            </p:cNvPr>
            <p:cNvSpPr/>
            <p:nvPr/>
          </p:nvSpPr>
          <p:spPr bwMode="auto">
            <a:xfrm>
              <a:off x="324678" y="2355726"/>
              <a:ext cx="1440160" cy="288000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72000" rIns="96000" anchor="ctr"/>
            <a:lstStyle/>
            <a:p>
              <a:pPr algn="r" rtl="0">
                <a:defRPr/>
              </a:pPr>
              <a:r>
                <a:rPr lang="de-DE" sz="1333" b="1" dirty="0">
                  <a:solidFill>
                    <a:schemeClr val="bg1"/>
                  </a:solidFill>
                </a:rPr>
                <a:t>OPC UA Server</a:t>
              </a:r>
            </a:p>
          </p:txBody>
        </p:sp>
        <p:pic>
          <p:nvPicPr>
            <p:cNvPr id="85" name="Grafik 45">
              <a:extLst>
                <a:ext uri="{FF2B5EF4-FFF2-40B4-BE49-F238E27FC236}">
                  <a16:creationId xmlns:a16="http://schemas.microsoft.com/office/drawing/2014/main" id="{0D758D25-2B7F-4DF9-8460-C7D98B5001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59842" y="2395194"/>
              <a:ext cx="240866" cy="210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63051706-E17F-49E2-8D0D-8979E6B5C9C5}"/>
                </a:ext>
              </a:extLst>
            </p:cNvPr>
            <p:cNvSpPr/>
            <p:nvPr/>
          </p:nvSpPr>
          <p:spPr>
            <a:xfrm>
              <a:off x="3657222" y="1563638"/>
              <a:ext cx="1816440" cy="24617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 rtl="0">
                <a:defRPr/>
              </a:pPr>
              <a:r>
                <a:rPr lang="de-DE" sz="2133" b="1" dirty="0">
                  <a:solidFill>
                    <a:schemeClr val="bg1"/>
                  </a:solidFill>
                </a:rPr>
                <a:t>dataFEED OPC Suite</a:t>
              </a:r>
            </a:p>
          </p:txBody>
        </p:sp>
        <p:sp>
          <p:nvSpPr>
            <p:cNvPr id="91" name="Abgerundetes Rechteck 93">
              <a:extLst>
                <a:ext uri="{FF2B5EF4-FFF2-40B4-BE49-F238E27FC236}">
                  <a16:creationId xmlns:a16="http://schemas.microsoft.com/office/drawing/2014/main" id="{865D50C8-70DF-4818-8B9F-C25FCB0D8E02}"/>
                </a:ext>
              </a:extLst>
            </p:cNvPr>
            <p:cNvSpPr/>
            <p:nvPr/>
          </p:nvSpPr>
          <p:spPr bwMode="auto">
            <a:xfrm>
              <a:off x="324678" y="1275606"/>
              <a:ext cx="1440160" cy="288000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96000" anchor="ctr"/>
            <a:lstStyle/>
            <a:p>
              <a:pPr algn="r" rtl="0">
                <a:defRPr/>
              </a:pPr>
              <a:r>
                <a:rPr lang="de-DE" sz="1333" b="1" dirty="0">
                  <a:solidFill>
                    <a:schemeClr val="bg1"/>
                  </a:solidFill>
                </a:rPr>
                <a:t>Controller / PLC</a:t>
              </a:r>
            </a:p>
          </p:txBody>
        </p:sp>
        <p:sp>
          <p:nvSpPr>
            <p:cNvPr id="105" name="Abgerundetes Rechteck 95">
              <a:extLst>
                <a:ext uri="{FF2B5EF4-FFF2-40B4-BE49-F238E27FC236}">
                  <a16:creationId xmlns:a16="http://schemas.microsoft.com/office/drawing/2014/main" id="{E54442C8-D496-4E68-945C-06232A8092A0}"/>
                </a:ext>
              </a:extLst>
            </p:cNvPr>
            <p:cNvSpPr/>
            <p:nvPr/>
          </p:nvSpPr>
          <p:spPr bwMode="auto">
            <a:xfrm>
              <a:off x="323528" y="1637604"/>
              <a:ext cx="1440160" cy="288000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96000" anchor="ctr"/>
            <a:lstStyle/>
            <a:p>
              <a:pPr algn="r" rtl="0">
                <a:defRPr/>
              </a:pPr>
              <a:r>
                <a:rPr lang="de-DE" sz="1333" b="1" dirty="0">
                  <a:solidFill>
                    <a:schemeClr val="bg1"/>
                  </a:solidFill>
                </a:rPr>
                <a:t>OPC Classic Server</a:t>
              </a:r>
            </a:p>
          </p:txBody>
        </p:sp>
        <p:pic>
          <p:nvPicPr>
            <p:cNvPr id="106" name="Grafik 29">
              <a:extLst>
                <a:ext uri="{FF2B5EF4-FFF2-40B4-BE49-F238E27FC236}">
                  <a16:creationId xmlns:a16="http://schemas.microsoft.com/office/drawing/2014/main" id="{788C5D73-9EF8-41AE-A740-D6AEBF77EF4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65945" y="1669352"/>
              <a:ext cx="294437" cy="237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7" name="Abgerundetes Rechteck 97">
              <a:extLst>
                <a:ext uri="{FF2B5EF4-FFF2-40B4-BE49-F238E27FC236}">
                  <a16:creationId xmlns:a16="http://schemas.microsoft.com/office/drawing/2014/main" id="{A188166D-EA97-46A1-B9E4-5096F457440A}"/>
                </a:ext>
              </a:extLst>
            </p:cNvPr>
            <p:cNvSpPr/>
            <p:nvPr/>
          </p:nvSpPr>
          <p:spPr bwMode="auto">
            <a:xfrm>
              <a:off x="323528" y="1995686"/>
              <a:ext cx="1440160" cy="288000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96000" anchor="ctr"/>
            <a:lstStyle/>
            <a:p>
              <a:pPr algn="r" rtl="0">
                <a:defRPr/>
              </a:pPr>
              <a:r>
                <a:rPr lang="de-DE" sz="1333" b="1" dirty="0">
                  <a:solidFill>
                    <a:schemeClr val="bg1"/>
                  </a:solidFill>
                </a:rPr>
                <a:t>OPC Tunnel Server</a:t>
              </a:r>
            </a:p>
          </p:txBody>
        </p:sp>
        <p:sp>
          <p:nvSpPr>
            <p:cNvPr id="109" name="Abgerundetes Rechteck 99">
              <a:extLst>
                <a:ext uri="{FF2B5EF4-FFF2-40B4-BE49-F238E27FC236}">
                  <a16:creationId xmlns:a16="http://schemas.microsoft.com/office/drawing/2014/main" id="{D03BC04A-0C06-4C48-AFEA-F91042068DB0}"/>
                </a:ext>
              </a:extLst>
            </p:cNvPr>
            <p:cNvSpPr/>
            <p:nvPr/>
          </p:nvSpPr>
          <p:spPr bwMode="auto">
            <a:xfrm rot="16200000">
              <a:off x="1915562" y="2293099"/>
              <a:ext cx="2871290" cy="422307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chemeClr val="tx1">
                    <a:lumMod val="50000"/>
                    <a:lumOff val="50000"/>
                  </a:schemeClr>
                </a:gs>
                <a:gs pos="70000">
                  <a:schemeClr val="tx1">
                    <a:lumMod val="25000"/>
                    <a:lumOff val="75000"/>
                  </a:schemeClr>
                </a:gs>
                <a:gs pos="100000">
                  <a:schemeClr val="tx1">
                    <a:lumMod val="25000"/>
                    <a:lumOff val="75000"/>
                  </a:schemeClr>
                </a:gs>
              </a:gsLst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rtl="0">
                <a:defRPr/>
              </a:pPr>
              <a:r>
                <a:rPr lang="de-DE" sz="1333" b="1" dirty="0">
                  <a:solidFill>
                    <a:schemeClr val="tx1"/>
                  </a:solidFill>
                </a:rPr>
                <a:t>Data Source (DS)</a:t>
              </a:r>
            </a:p>
          </p:txBody>
        </p:sp>
        <p:sp>
          <p:nvSpPr>
            <p:cNvPr id="110" name="Abgerundetes Rechteck 100">
              <a:extLst>
                <a:ext uri="{FF2B5EF4-FFF2-40B4-BE49-F238E27FC236}">
                  <a16:creationId xmlns:a16="http://schemas.microsoft.com/office/drawing/2014/main" id="{A840E835-3F39-417E-8690-C112DAC5536E}"/>
                </a:ext>
              </a:extLst>
            </p:cNvPr>
            <p:cNvSpPr/>
            <p:nvPr/>
          </p:nvSpPr>
          <p:spPr bwMode="auto">
            <a:xfrm rot="16200000">
              <a:off x="4344032" y="2293103"/>
              <a:ext cx="2871288" cy="422307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chemeClr val="tx1">
                    <a:lumMod val="50000"/>
                    <a:lumOff val="50000"/>
                  </a:schemeClr>
                </a:gs>
                <a:gs pos="70000">
                  <a:schemeClr val="tx1">
                    <a:lumMod val="25000"/>
                    <a:lumOff val="75000"/>
                  </a:schemeClr>
                </a:gs>
                <a:gs pos="100000">
                  <a:schemeClr val="tx1">
                    <a:lumMod val="25000"/>
                    <a:lumOff val="75000"/>
                  </a:schemeClr>
                </a:gs>
              </a:gsLst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rtl="0">
                <a:defRPr/>
              </a:pPr>
              <a:r>
                <a:rPr lang="de-DE" sz="1333" b="1" dirty="0">
                  <a:solidFill>
                    <a:schemeClr val="tx1"/>
                  </a:solidFill>
                </a:rPr>
                <a:t>Data Destination (DD)</a:t>
              </a:r>
            </a:p>
          </p:txBody>
        </p:sp>
        <p:sp>
          <p:nvSpPr>
            <p:cNvPr id="112" name="Abgerundetes Rechteck 101">
              <a:extLst>
                <a:ext uri="{FF2B5EF4-FFF2-40B4-BE49-F238E27FC236}">
                  <a16:creationId xmlns:a16="http://schemas.microsoft.com/office/drawing/2014/main" id="{3CAF2D7E-CA07-4493-A4A2-80FDDF9E54D1}"/>
                </a:ext>
              </a:extLst>
            </p:cNvPr>
            <p:cNvSpPr/>
            <p:nvPr/>
          </p:nvSpPr>
          <p:spPr bwMode="auto">
            <a:xfrm>
              <a:off x="7380000" y="1044000"/>
              <a:ext cx="1440160" cy="288000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96000" anchor="ctr"/>
            <a:lstStyle/>
            <a:p>
              <a:pPr algn="r"/>
              <a:r>
                <a:rPr lang="de-DE" sz="1333" b="1" dirty="0">
                  <a:solidFill>
                    <a:schemeClr val="bg1"/>
                  </a:solidFill>
                </a:rPr>
                <a:t>OPC Classic Client</a:t>
              </a:r>
            </a:p>
          </p:txBody>
        </p:sp>
        <p:pic>
          <p:nvPicPr>
            <p:cNvPr id="113" name="Grafik 29">
              <a:extLst>
                <a:ext uri="{FF2B5EF4-FFF2-40B4-BE49-F238E27FC236}">
                  <a16:creationId xmlns:a16="http://schemas.microsoft.com/office/drawing/2014/main" id="{2D28DDB5-5F6E-4D4A-8A80-29F7E679E4A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7412991" y="1068613"/>
              <a:ext cx="294437" cy="237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5" name="Pfeil nach rechts 113">
              <a:extLst>
                <a:ext uri="{FF2B5EF4-FFF2-40B4-BE49-F238E27FC236}">
                  <a16:creationId xmlns:a16="http://schemas.microsoft.com/office/drawing/2014/main" id="{3D3110F7-7EDA-4C1F-A9DE-D56E2D228273}"/>
                </a:ext>
              </a:extLst>
            </p:cNvPr>
            <p:cNvSpPr/>
            <p:nvPr/>
          </p:nvSpPr>
          <p:spPr bwMode="auto">
            <a:xfrm>
              <a:off x="6084167" y="2029156"/>
              <a:ext cx="1261809" cy="288000"/>
            </a:xfrm>
            <a:prstGeom prst="rightArrow">
              <a:avLst>
                <a:gd name="adj1" fmla="val 67858"/>
                <a:gd name="adj2" fmla="val 58929"/>
              </a:avLst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de-DE" sz="1333" b="1"/>
                <a:t>MQTT</a:t>
              </a:r>
            </a:p>
          </p:txBody>
        </p:sp>
        <p:pic>
          <p:nvPicPr>
            <p:cNvPr id="116" name="Grafik 36">
              <a:extLst>
                <a:ext uri="{FF2B5EF4-FFF2-40B4-BE49-F238E27FC236}">
                  <a16:creationId xmlns:a16="http://schemas.microsoft.com/office/drawing/2014/main" id="{AD903CF6-D18B-490E-B16F-892539DE3D1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7468144" y="3673611"/>
              <a:ext cx="184125" cy="2440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7" name="Abgerundetes Rechteck 121">
              <a:extLst>
                <a:ext uri="{FF2B5EF4-FFF2-40B4-BE49-F238E27FC236}">
                  <a16:creationId xmlns:a16="http://schemas.microsoft.com/office/drawing/2014/main" id="{D3DBAA67-16F6-42F0-BC2D-2F53A27B5228}"/>
                </a:ext>
              </a:extLst>
            </p:cNvPr>
            <p:cNvSpPr/>
            <p:nvPr/>
          </p:nvSpPr>
          <p:spPr bwMode="auto">
            <a:xfrm>
              <a:off x="323661" y="3435846"/>
              <a:ext cx="1440160" cy="288000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96000" anchor="ctr"/>
            <a:lstStyle/>
            <a:p>
              <a:pPr algn="r" rtl="0">
                <a:defRPr/>
              </a:pPr>
              <a:r>
                <a:rPr lang="de-DE" sz="1333" b="1" dirty="0">
                  <a:solidFill>
                    <a:schemeClr val="bg1"/>
                  </a:solidFill>
                </a:rPr>
                <a:t>SQL Database</a:t>
              </a:r>
            </a:p>
          </p:txBody>
        </p:sp>
        <p:pic>
          <p:nvPicPr>
            <p:cNvPr id="125" name="Grafik 35">
              <a:extLst>
                <a:ext uri="{FF2B5EF4-FFF2-40B4-BE49-F238E27FC236}">
                  <a16:creationId xmlns:a16="http://schemas.microsoft.com/office/drawing/2014/main" id="{FD089623-030B-4662-A66D-766015D525C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59295" y="3464231"/>
              <a:ext cx="221961" cy="244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6" name="Grafik 45">
              <a:extLst>
                <a:ext uri="{FF2B5EF4-FFF2-40B4-BE49-F238E27FC236}">
                  <a16:creationId xmlns:a16="http://schemas.microsoft.com/office/drawing/2014/main" id="{2C177307-4DB9-427B-B879-B9492E233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53492" y="1313933"/>
              <a:ext cx="240866" cy="2107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9" name="Grafik 29">
              <a:extLst>
                <a:ext uri="{FF2B5EF4-FFF2-40B4-BE49-F238E27FC236}">
                  <a16:creationId xmlns:a16="http://schemas.microsoft.com/office/drawing/2014/main" id="{D9CB42EF-A2F7-4829-96CE-00DC2DC08A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62344" y="2023003"/>
              <a:ext cx="294437" cy="237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1" name="Pfeil nach links und rechts 84">
              <a:extLst>
                <a:ext uri="{FF2B5EF4-FFF2-40B4-BE49-F238E27FC236}">
                  <a16:creationId xmlns:a16="http://schemas.microsoft.com/office/drawing/2014/main" id="{E808C336-6C1D-4315-903F-32D6B154ECD8}"/>
                </a:ext>
              </a:extLst>
            </p:cNvPr>
            <p:cNvSpPr/>
            <p:nvPr/>
          </p:nvSpPr>
          <p:spPr bwMode="auto">
            <a:xfrm>
              <a:off x="6082357" y="1044000"/>
              <a:ext cx="1261810" cy="288000"/>
            </a:xfrm>
            <a:prstGeom prst="leftRightArrow">
              <a:avLst>
                <a:gd name="adj1" fmla="val 67502"/>
                <a:gd name="adj2" fmla="val 51967"/>
              </a:avLst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de-DE" sz="1333" b="1" dirty="0"/>
                <a:t>OPC Classic</a:t>
              </a:r>
            </a:p>
          </p:txBody>
        </p:sp>
        <p:sp>
          <p:nvSpPr>
            <p:cNvPr id="139" name="Abgerundetes Rechteck 101">
              <a:extLst>
                <a:ext uri="{FF2B5EF4-FFF2-40B4-BE49-F238E27FC236}">
                  <a16:creationId xmlns:a16="http://schemas.microsoft.com/office/drawing/2014/main" id="{FC108AC0-1DFF-4212-B2F7-34C8D665C5FA}"/>
                </a:ext>
              </a:extLst>
            </p:cNvPr>
            <p:cNvSpPr/>
            <p:nvPr/>
          </p:nvSpPr>
          <p:spPr bwMode="auto">
            <a:xfrm>
              <a:off x="7380000" y="1368000"/>
              <a:ext cx="1440160" cy="288000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96000" anchor="ctr"/>
            <a:lstStyle/>
            <a:p>
              <a:pPr algn="r"/>
              <a:r>
                <a:rPr lang="de-DE" sz="1333" b="1" dirty="0">
                  <a:solidFill>
                    <a:schemeClr val="bg1"/>
                  </a:solidFill>
                </a:rPr>
                <a:t>OPC Tunnel Client</a:t>
              </a:r>
            </a:p>
          </p:txBody>
        </p:sp>
        <p:pic>
          <p:nvPicPr>
            <p:cNvPr id="140" name="Grafik 29">
              <a:extLst>
                <a:ext uri="{FF2B5EF4-FFF2-40B4-BE49-F238E27FC236}">
                  <a16:creationId xmlns:a16="http://schemas.microsoft.com/office/drawing/2014/main" id="{D347BFE6-81D8-4E1A-AF5F-A6E4538868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7412991" y="1392613"/>
              <a:ext cx="294437" cy="237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1" name="Pfeil nach links und rechts 84">
              <a:extLst>
                <a:ext uri="{FF2B5EF4-FFF2-40B4-BE49-F238E27FC236}">
                  <a16:creationId xmlns:a16="http://schemas.microsoft.com/office/drawing/2014/main" id="{90EC3E4E-790D-427E-8223-799B47482C32}"/>
                </a:ext>
              </a:extLst>
            </p:cNvPr>
            <p:cNvSpPr/>
            <p:nvPr/>
          </p:nvSpPr>
          <p:spPr bwMode="auto">
            <a:xfrm>
              <a:off x="6082357" y="1381156"/>
              <a:ext cx="1261810" cy="288000"/>
            </a:xfrm>
            <a:prstGeom prst="leftRightArrow">
              <a:avLst>
                <a:gd name="adj1" fmla="val 67502"/>
                <a:gd name="adj2" fmla="val 51967"/>
              </a:avLst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de-DE" sz="1333" b="1"/>
                <a:t>OPC Tunnel</a:t>
              </a:r>
            </a:p>
          </p:txBody>
        </p:sp>
        <p:sp>
          <p:nvSpPr>
            <p:cNvPr id="143" name="Abgerundetes Rechteck 101">
              <a:extLst>
                <a:ext uri="{FF2B5EF4-FFF2-40B4-BE49-F238E27FC236}">
                  <a16:creationId xmlns:a16="http://schemas.microsoft.com/office/drawing/2014/main" id="{9C56AB4D-BC0E-4CAE-B586-C85D1046CA60}"/>
                </a:ext>
              </a:extLst>
            </p:cNvPr>
            <p:cNvSpPr/>
            <p:nvPr/>
          </p:nvSpPr>
          <p:spPr bwMode="auto">
            <a:xfrm>
              <a:off x="7380312" y="1692000"/>
              <a:ext cx="1440160" cy="288000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96000" anchor="ctr"/>
            <a:lstStyle/>
            <a:p>
              <a:pPr algn="r"/>
              <a:r>
                <a:rPr lang="de-DE" sz="1333" b="1" dirty="0">
                  <a:solidFill>
                    <a:schemeClr val="bg1"/>
                  </a:solidFill>
                </a:rPr>
                <a:t>OPC UA Client</a:t>
              </a:r>
            </a:p>
          </p:txBody>
        </p:sp>
        <p:pic>
          <p:nvPicPr>
            <p:cNvPr id="144" name="Grafik 29">
              <a:extLst>
                <a:ext uri="{FF2B5EF4-FFF2-40B4-BE49-F238E27FC236}">
                  <a16:creationId xmlns:a16="http://schemas.microsoft.com/office/drawing/2014/main" id="{54D55038-C1AB-432D-86A5-D4DAC2DB1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7413303" y="1716613"/>
              <a:ext cx="294437" cy="237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6" name="Abgerundetes Rechteck 101">
              <a:extLst>
                <a:ext uri="{FF2B5EF4-FFF2-40B4-BE49-F238E27FC236}">
                  <a16:creationId xmlns:a16="http://schemas.microsoft.com/office/drawing/2014/main" id="{08088D58-90C2-4BDE-9EDE-52C635FC0E9E}"/>
                </a:ext>
              </a:extLst>
            </p:cNvPr>
            <p:cNvSpPr/>
            <p:nvPr/>
          </p:nvSpPr>
          <p:spPr bwMode="auto">
            <a:xfrm>
              <a:off x="7380312" y="2016000"/>
              <a:ext cx="1440160" cy="288000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96000" anchor="ctr"/>
            <a:lstStyle/>
            <a:p>
              <a:pPr algn="r"/>
              <a:r>
                <a:rPr lang="de-DE" sz="1333" b="1" dirty="0">
                  <a:solidFill>
                    <a:schemeClr val="bg1"/>
                  </a:solidFill>
                </a:rPr>
                <a:t>MQTT Broker</a:t>
              </a:r>
            </a:p>
          </p:txBody>
        </p:sp>
        <p:pic>
          <p:nvPicPr>
            <p:cNvPr id="147" name="Grafik 29">
              <a:extLst>
                <a:ext uri="{FF2B5EF4-FFF2-40B4-BE49-F238E27FC236}">
                  <a16:creationId xmlns:a16="http://schemas.microsoft.com/office/drawing/2014/main" id="{CD714433-FDBF-4C68-B4FA-ACA3D1E8C40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7412991" y="2089364"/>
              <a:ext cx="294437" cy="1521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9" name="Abgerundetes Rechteck 101">
              <a:extLst>
                <a:ext uri="{FF2B5EF4-FFF2-40B4-BE49-F238E27FC236}">
                  <a16:creationId xmlns:a16="http://schemas.microsoft.com/office/drawing/2014/main" id="{5E276B91-DAD0-468E-9ED1-64E6D2054D6B}"/>
                </a:ext>
              </a:extLst>
            </p:cNvPr>
            <p:cNvSpPr/>
            <p:nvPr/>
          </p:nvSpPr>
          <p:spPr bwMode="auto">
            <a:xfrm>
              <a:off x="7380312" y="2340000"/>
              <a:ext cx="1440160" cy="288000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96000" anchor="ctr"/>
            <a:lstStyle/>
            <a:p>
              <a:pPr algn="r"/>
              <a:r>
                <a:rPr lang="de-DE" sz="1333" b="1">
                  <a:solidFill>
                    <a:schemeClr val="bg1"/>
                  </a:solidFill>
                </a:rPr>
                <a:t>MindSphere</a:t>
              </a:r>
            </a:p>
          </p:txBody>
        </p:sp>
        <p:pic>
          <p:nvPicPr>
            <p:cNvPr id="150" name="Grafik 29">
              <a:extLst>
                <a:ext uri="{FF2B5EF4-FFF2-40B4-BE49-F238E27FC236}">
                  <a16:creationId xmlns:a16="http://schemas.microsoft.com/office/drawing/2014/main" id="{97692965-DB50-49AB-A5C9-04198BAB02D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7412991" y="2413364"/>
              <a:ext cx="294437" cy="1521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1" name="Abgerundetes Rechteck 101">
              <a:extLst>
                <a:ext uri="{FF2B5EF4-FFF2-40B4-BE49-F238E27FC236}">
                  <a16:creationId xmlns:a16="http://schemas.microsoft.com/office/drawing/2014/main" id="{89D06F68-C38B-4AB1-8E38-05D874D1C128}"/>
                </a:ext>
              </a:extLst>
            </p:cNvPr>
            <p:cNvSpPr/>
            <p:nvPr/>
          </p:nvSpPr>
          <p:spPr bwMode="auto">
            <a:xfrm>
              <a:off x="7380312" y="2664000"/>
              <a:ext cx="1440160" cy="288000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96000" anchor="ctr"/>
            <a:lstStyle/>
            <a:p>
              <a:pPr algn="r"/>
              <a:r>
                <a:rPr lang="de-DE" sz="1333" b="1" dirty="0">
                  <a:solidFill>
                    <a:schemeClr val="bg1"/>
                  </a:solidFill>
                </a:rPr>
                <a:t>REST Server</a:t>
              </a:r>
            </a:p>
          </p:txBody>
        </p:sp>
        <p:pic>
          <p:nvPicPr>
            <p:cNvPr id="152" name="Grafik 29">
              <a:extLst>
                <a:ext uri="{FF2B5EF4-FFF2-40B4-BE49-F238E27FC236}">
                  <a16:creationId xmlns:a16="http://schemas.microsoft.com/office/drawing/2014/main" id="{A572B8B8-1E49-4202-AB99-1BEFFC6108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7412990" y="2702713"/>
              <a:ext cx="294437" cy="237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4" name="Abgerundetes Rechteck 101">
              <a:extLst>
                <a:ext uri="{FF2B5EF4-FFF2-40B4-BE49-F238E27FC236}">
                  <a16:creationId xmlns:a16="http://schemas.microsoft.com/office/drawing/2014/main" id="{509B48FC-43DF-46D9-A383-DFDC3D6255A8}"/>
                </a:ext>
              </a:extLst>
            </p:cNvPr>
            <p:cNvSpPr/>
            <p:nvPr/>
          </p:nvSpPr>
          <p:spPr bwMode="auto">
            <a:xfrm>
              <a:off x="7380312" y="2988000"/>
              <a:ext cx="1440160" cy="288000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96000" anchor="ctr"/>
            <a:lstStyle/>
            <a:p>
              <a:pPr algn="r"/>
              <a:r>
                <a:rPr lang="de-DE" sz="1333" b="1" dirty="0">
                  <a:solidFill>
                    <a:schemeClr val="bg1"/>
                  </a:solidFill>
                </a:rPr>
                <a:t>NoSQL Database</a:t>
              </a:r>
            </a:p>
          </p:txBody>
        </p:sp>
        <p:pic>
          <p:nvPicPr>
            <p:cNvPr id="155" name="Grafik 35">
              <a:extLst>
                <a:ext uri="{FF2B5EF4-FFF2-40B4-BE49-F238E27FC236}">
                  <a16:creationId xmlns:a16="http://schemas.microsoft.com/office/drawing/2014/main" id="{EC5FAAF9-8892-420F-B61B-A40E3F17DD4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7449227" y="3017709"/>
              <a:ext cx="221961" cy="244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7" name="Abgerundetes Rechteck 101">
              <a:extLst>
                <a:ext uri="{FF2B5EF4-FFF2-40B4-BE49-F238E27FC236}">
                  <a16:creationId xmlns:a16="http://schemas.microsoft.com/office/drawing/2014/main" id="{E7F9F532-1753-4C96-A8BB-7C8A1F021FC1}"/>
                </a:ext>
              </a:extLst>
            </p:cNvPr>
            <p:cNvSpPr/>
            <p:nvPr/>
          </p:nvSpPr>
          <p:spPr bwMode="auto">
            <a:xfrm>
              <a:off x="7380312" y="3312000"/>
              <a:ext cx="1440160" cy="288000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96000" anchor="ctr"/>
            <a:lstStyle/>
            <a:p>
              <a:pPr algn="r"/>
              <a:r>
                <a:rPr lang="de-DE" sz="1333" b="1" dirty="0">
                  <a:solidFill>
                    <a:schemeClr val="bg1"/>
                  </a:solidFill>
                </a:rPr>
                <a:t>SQL Database</a:t>
              </a:r>
            </a:p>
          </p:txBody>
        </p:sp>
        <p:pic>
          <p:nvPicPr>
            <p:cNvPr id="158" name="Grafik 35">
              <a:extLst>
                <a:ext uri="{FF2B5EF4-FFF2-40B4-BE49-F238E27FC236}">
                  <a16:creationId xmlns:a16="http://schemas.microsoft.com/office/drawing/2014/main" id="{0A538D12-49A7-4EDE-90D1-F2ECDEA45DB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7449227" y="3341709"/>
              <a:ext cx="221961" cy="244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9" name="Pfeil nach links und rechts 84">
              <a:extLst>
                <a:ext uri="{FF2B5EF4-FFF2-40B4-BE49-F238E27FC236}">
                  <a16:creationId xmlns:a16="http://schemas.microsoft.com/office/drawing/2014/main" id="{D2E40229-70B4-4CDD-8D05-9177B63C7BE4}"/>
                </a:ext>
              </a:extLst>
            </p:cNvPr>
            <p:cNvSpPr/>
            <p:nvPr/>
          </p:nvSpPr>
          <p:spPr bwMode="auto">
            <a:xfrm>
              <a:off x="6082389" y="1711734"/>
              <a:ext cx="1261810" cy="288000"/>
            </a:xfrm>
            <a:prstGeom prst="leftRightArrow">
              <a:avLst>
                <a:gd name="adj1" fmla="val 67502"/>
                <a:gd name="adj2" fmla="val 51967"/>
              </a:avLst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de-DE" sz="1333" b="1"/>
                <a:t>OPC UA</a:t>
              </a:r>
            </a:p>
          </p:txBody>
        </p:sp>
        <p:sp>
          <p:nvSpPr>
            <p:cNvPr id="160" name="Pfeil nach rechts 113">
              <a:extLst>
                <a:ext uri="{FF2B5EF4-FFF2-40B4-BE49-F238E27FC236}">
                  <a16:creationId xmlns:a16="http://schemas.microsoft.com/office/drawing/2014/main" id="{B5DAA5F6-B8E9-436E-A00C-102C188C2B4A}"/>
                </a:ext>
              </a:extLst>
            </p:cNvPr>
            <p:cNvSpPr/>
            <p:nvPr/>
          </p:nvSpPr>
          <p:spPr bwMode="auto">
            <a:xfrm>
              <a:off x="6082356" y="2683734"/>
              <a:ext cx="1261809" cy="288000"/>
            </a:xfrm>
            <a:prstGeom prst="rightArrow">
              <a:avLst>
                <a:gd name="adj1" fmla="val 67858"/>
                <a:gd name="adj2" fmla="val 58929"/>
              </a:avLst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de-DE" sz="1333" b="1"/>
                <a:t>REST</a:t>
              </a:r>
            </a:p>
          </p:txBody>
        </p:sp>
        <p:sp>
          <p:nvSpPr>
            <p:cNvPr id="161" name="Pfeil nach rechts 113">
              <a:extLst>
                <a:ext uri="{FF2B5EF4-FFF2-40B4-BE49-F238E27FC236}">
                  <a16:creationId xmlns:a16="http://schemas.microsoft.com/office/drawing/2014/main" id="{728C085E-F85D-4D40-A88A-0398B5BAFFDB}"/>
                </a:ext>
              </a:extLst>
            </p:cNvPr>
            <p:cNvSpPr/>
            <p:nvPr/>
          </p:nvSpPr>
          <p:spPr bwMode="auto">
            <a:xfrm>
              <a:off x="6082356" y="3348000"/>
              <a:ext cx="1261809" cy="288000"/>
            </a:xfrm>
            <a:prstGeom prst="rightArrow">
              <a:avLst>
                <a:gd name="adj1" fmla="val 67858"/>
                <a:gd name="adj2" fmla="val 58929"/>
              </a:avLst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de-DE" sz="1333" b="1"/>
                <a:t>ODBC</a:t>
              </a:r>
            </a:p>
          </p:txBody>
        </p:sp>
        <p:sp>
          <p:nvSpPr>
            <p:cNvPr id="162" name="Pfeil nach rechts 113">
              <a:extLst>
                <a:ext uri="{FF2B5EF4-FFF2-40B4-BE49-F238E27FC236}">
                  <a16:creationId xmlns:a16="http://schemas.microsoft.com/office/drawing/2014/main" id="{EFA65BA2-305A-43DA-A187-2F9C7CCFDC82}"/>
                </a:ext>
              </a:extLst>
            </p:cNvPr>
            <p:cNvSpPr/>
            <p:nvPr/>
          </p:nvSpPr>
          <p:spPr bwMode="auto">
            <a:xfrm>
              <a:off x="6082356" y="3672000"/>
              <a:ext cx="1261809" cy="288000"/>
            </a:xfrm>
            <a:prstGeom prst="rightArrow">
              <a:avLst>
                <a:gd name="adj1" fmla="val 67858"/>
                <a:gd name="adj2" fmla="val 58929"/>
              </a:avLst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de-DE" sz="1333" b="1" dirty="0"/>
                <a:t>File Access</a:t>
              </a:r>
            </a:p>
          </p:txBody>
        </p:sp>
        <p:sp>
          <p:nvSpPr>
            <p:cNvPr id="163" name="Pfeil nach rechts 113">
              <a:extLst>
                <a:ext uri="{FF2B5EF4-FFF2-40B4-BE49-F238E27FC236}">
                  <a16:creationId xmlns:a16="http://schemas.microsoft.com/office/drawing/2014/main" id="{B3A5D896-ED3A-42EF-86ED-D4140DB36937}"/>
                </a:ext>
              </a:extLst>
            </p:cNvPr>
            <p:cNvSpPr/>
            <p:nvPr/>
          </p:nvSpPr>
          <p:spPr bwMode="auto">
            <a:xfrm>
              <a:off x="6082356" y="2353156"/>
              <a:ext cx="1261809" cy="288000"/>
            </a:xfrm>
            <a:prstGeom prst="rightArrow">
              <a:avLst>
                <a:gd name="adj1" fmla="val 67858"/>
                <a:gd name="adj2" fmla="val 58929"/>
              </a:avLst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de-DE" sz="1333" b="1"/>
                <a:t>MindSphere API</a:t>
              </a:r>
            </a:p>
          </p:txBody>
        </p:sp>
        <p:sp>
          <p:nvSpPr>
            <p:cNvPr id="164" name="Pfeil nach rechts 113">
              <a:extLst>
                <a:ext uri="{FF2B5EF4-FFF2-40B4-BE49-F238E27FC236}">
                  <a16:creationId xmlns:a16="http://schemas.microsoft.com/office/drawing/2014/main" id="{A21AC6A2-D88B-4955-B208-0E9295F88073}"/>
                </a:ext>
              </a:extLst>
            </p:cNvPr>
            <p:cNvSpPr/>
            <p:nvPr/>
          </p:nvSpPr>
          <p:spPr bwMode="auto">
            <a:xfrm>
              <a:off x="6082356" y="3024000"/>
              <a:ext cx="1261809" cy="288000"/>
            </a:xfrm>
            <a:prstGeom prst="rightArrow">
              <a:avLst>
                <a:gd name="adj1" fmla="val 67858"/>
                <a:gd name="adj2" fmla="val 58929"/>
              </a:avLst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de-DE" sz="1333" b="1" dirty="0"/>
                <a:t>Database API</a:t>
              </a:r>
            </a:p>
          </p:txBody>
        </p:sp>
        <p:sp>
          <p:nvSpPr>
            <p:cNvPr id="165" name="Pfeil nach links und rechts 84">
              <a:extLst>
                <a:ext uri="{FF2B5EF4-FFF2-40B4-BE49-F238E27FC236}">
                  <a16:creationId xmlns:a16="http://schemas.microsoft.com/office/drawing/2014/main" id="{3EF8166A-9B70-4018-B999-E29ECC6F601F}"/>
                </a:ext>
              </a:extLst>
            </p:cNvPr>
            <p:cNvSpPr/>
            <p:nvPr/>
          </p:nvSpPr>
          <p:spPr bwMode="auto">
            <a:xfrm>
              <a:off x="1818846" y="1635646"/>
              <a:ext cx="1252254" cy="288000"/>
            </a:xfrm>
            <a:prstGeom prst="leftRightArrow">
              <a:avLst>
                <a:gd name="adj1" fmla="val 67502"/>
                <a:gd name="adj2" fmla="val 51967"/>
              </a:avLst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de-DE" sz="1333" b="1"/>
                <a:t>OPC Classic</a:t>
              </a:r>
            </a:p>
          </p:txBody>
        </p:sp>
        <p:sp>
          <p:nvSpPr>
            <p:cNvPr id="166" name="Pfeil nach links und rechts 84">
              <a:extLst>
                <a:ext uri="{FF2B5EF4-FFF2-40B4-BE49-F238E27FC236}">
                  <a16:creationId xmlns:a16="http://schemas.microsoft.com/office/drawing/2014/main" id="{106A8217-F3FD-46FF-9789-323FD18D819E}"/>
                </a:ext>
              </a:extLst>
            </p:cNvPr>
            <p:cNvSpPr/>
            <p:nvPr/>
          </p:nvSpPr>
          <p:spPr bwMode="auto">
            <a:xfrm>
              <a:off x="1818846" y="1995686"/>
              <a:ext cx="1252254" cy="288000"/>
            </a:xfrm>
            <a:prstGeom prst="leftRightArrow">
              <a:avLst>
                <a:gd name="adj1" fmla="val 67502"/>
                <a:gd name="adj2" fmla="val 51967"/>
              </a:avLst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de-DE" sz="1333" b="1" dirty="0"/>
                <a:t>OPC Tunnel</a:t>
              </a:r>
            </a:p>
          </p:txBody>
        </p:sp>
        <p:sp>
          <p:nvSpPr>
            <p:cNvPr id="167" name="Pfeil nach links und rechts 84">
              <a:extLst>
                <a:ext uri="{FF2B5EF4-FFF2-40B4-BE49-F238E27FC236}">
                  <a16:creationId xmlns:a16="http://schemas.microsoft.com/office/drawing/2014/main" id="{49DDB06E-3CE4-43D9-A11F-98B8E11C6A5C}"/>
                </a:ext>
              </a:extLst>
            </p:cNvPr>
            <p:cNvSpPr/>
            <p:nvPr/>
          </p:nvSpPr>
          <p:spPr bwMode="auto">
            <a:xfrm>
              <a:off x="1818846" y="2355726"/>
              <a:ext cx="1252254" cy="288000"/>
            </a:xfrm>
            <a:prstGeom prst="leftRightArrow">
              <a:avLst>
                <a:gd name="adj1" fmla="val 67502"/>
                <a:gd name="adj2" fmla="val 51967"/>
              </a:avLst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de-DE" sz="1333" b="1"/>
                <a:t>OPC UA</a:t>
              </a:r>
            </a:p>
          </p:txBody>
        </p:sp>
        <p:sp>
          <p:nvSpPr>
            <p:cNvPr id="168" name="Pfeil nach links und rechts 84">
              <a:extLst>
                <a:ext uri="{FF2B5EF4-FFF2-40B4-BE49-F238E27FC236}">
                  <a16:creationId xmlns:a16="http://schemas.microsoft.com/office/drawing/2014/main" id="{E9D4A182-5170-42B5-9290-B21B05B5CE49}"/>
                </a:ext>
              </a:extLst>
            </p:cNvPr>
            <p:cNvSpPr/>
            <p:nvPr/>
          </p:nvSpPr>
          <p:spPr bwMode="auto">
            <a:xfrm>
              <a:off x="1817323" y="1277753"/>
              <a:ext cx="1252254" cy="288000"/>
            </a:xfrm>
            <a:prstGeom prst="leftRightArrow">
              <a:avLst>
                <a:gd name="adj1" fmla="val 67502"/>
                <a:gd name="adj2" fmla="val 51967"/>
              </a:avLst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de-DE" sz="1333" b="1" dirty="0"/>
                <a:t>PLC Protocol</a:t>
              </a:r>
            </a:p>
          </p:txBody>
        </p:sp>
        <p:sp>
          <p:nvSpPr>
            <p:cNvPr id="169" name="Abgerundetes Rechteck 121">
              <a:extLst>
                <a:ext uri="{FF2B5EF4-FFF2-40B4-BE49-F238E27FC236}">
                  <a16:creationId xmlns:a16="http://schemas.microsoft.com/office/drawing/2014/main" id="{9F78AE22-E838-481F-8A38-E283C26BEAE1}"/>
                </a:ext>
              </a:extLst>
            </p:cNvPr>
            <p:cNvSpPr/>
            <p:nvPr/>
          </p:nvSpPr>
          <p:spPr bwMode="auto">
            <a:xfrm>
              <a:off x="326427" y="2715766"/>
              <a:ext cx="1440160" cy="288000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96000" anchor="ctr"/>
            <a:lstStyle/>
            <a:p>
              <a:pPr algn="r" rtl="0">
                <a:defRPr/>
              </a:pPr>
              <a:r>
                <a:rPr lang="de-DE" sz="1333" b="1" dirty="0">
                  <a:solidFill>
                    <a:schemeClr val="bg1"/>
                  </a:solidFill>
                </a:rPr>
                <a:t>MQTT Publisher</a:t>
              </a:r>
            </a:p>
          </p:txBody>
        </p:sp>
        <p:sp>
          <p:nvSpPr>
            <p:cNvPr id="170" name="Pfeil nach rechts 113">
              <a:extLst>
                <a:ext uri="{FF2B5EF4-FFF2-40B4-BE49-F238E27FC236}">
                  <a16:creationId xmlns:a16="http://schemas.microsoft.com/office/drawing/2014/main" id="{3B8BBCCE-721A-4124-B0CC-512A156F65FD}"/>
                </a:ext>
              </a:extLst>
            </p:cNvPr>
            <p:cNvSpPr/>
            <p:nvPr/>
          </p:nvSpPr>
          <p:spPr bwMode="auto">
            <a:xfrm>
              <a:off x="1821612" y="2725717"/>
              <a:ext cx="1252253" cy="288000"/>
            </a:xfrm>
            <a:prstGeom prst="rightArrow">
              <a:avLst>
                <a:gd name="adj1" fmla="val 67858"/>
                <a:gd name="adj2" fmla="val 58929"/>
              </a:avLst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de-DE" sz="1333" b="1" dirty="0"/>
                <a:t>MQTT</a:t>
              </a:r>
            </a:p>
          </p:txBody>
        </p:sp>
        <p:pic>
          <p:nvPicPr>
            <p:cNvPr id="171" name="Grafik 170">
              <a:extLst>
                <a:ext uri="{FF2B5EF4-FFF2-40B4-BE49-F238E27FC236}">
                  <a16:creationId xmlns:a16="http://schemas.microsoft.com/office/drawing/2014/main" id="{0306B2E2-C007-48FC-81E6-F4DAE0E7E9A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lum bright="70000" contrast="-70000"/>
            </a:blip>
            <a:srcRect/>
            <a:stretch/>
          </p:blipFill>
          <p:spPr>
            <a:xfrm>
              <a:off x="357329" y="2748898"/>
              <a:ext cx="236016" cy="216000"/>
            </a:xfrm>
            <a:prstGeom prst="rect">
              <a:avLst/>
            </a:prstGeom>
          </p:spPr>
        </p:pic>
        <p:sp>
          <p:nvSpPr>
            <p:cNvPr id="172" name="Pfeil nach links und rechts 84">
              <a:extLst>
                <a:ext uri="{FF2B5EF4-FFF2-40B4-BE49-F238E27FC236}">
                  <a16:creationId xmlns:a16="http://schemas.microsoft.com/office/drawing/2014/main" id="{EBC70CE7-2085-445C-B78D-09E14B374226}"/>
                </a:ext>
              </a:extLst>
            </p:cNvPr>
            <p:cNvSpPr/>
            <p:nvPr/>
          </p:nvSpPr>
          <p:spPr bwMode="auto">
            <a:xfrm>
              <a:off x="1817322" y="3437657"/>
              <a:ext cx="1252254" cy="288000"/>
            </a:xfrm>
            <a:prstGeom prst="leftRightArrow">
              <a:avLst>
                <a:gd name="adj1" fmla="val 67502"/>
                <a:gd name="adj2" fmla="val 51967"/>
              </a:avLst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de-DE" sz="1333" b="1" dirty="0"/>
                <a:t>ODBC</a:t>
              </a:r>
            </a:p>
          </p:txBody>
        </p:sp>
        <p:sp>
          <p:nvSpPr>
            <p:cNvPr id="191" name="Abgerundetes Rechteck 78">
              <a:extLst>
                <a:ext uri="{FF2B5EF4-FFF2-40B4-BE49-F238E27FC236}">
                  <a16:creationId xmlns:a16="http://schemas.microsoft.com/office/drawing/2014/main" id="{8066AAB1-2EC4-43A4-86D6-B93D81699E31}"/>
                </a:ext>
              </a:extLst>
            </p:cNvPr>
            <p:cNvSpPr/>
            <p:nvPr/>
          </p:nvSpPr>
          <p:spPr bwMode="auto">
            <a:xfrm>
              <a:off x="3649763" y="2334987"/>
              <a:ext cx="1823899" cy="326916"/>
            </a:xfrm>
            <a:prstGeom prst="roundRect">
              <a:avLst>
                <a:gd name="adj" fmla="val 0"/>
              </a:avLst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rtl="0">
                <a:defRPr/>
              </a:pPr>
              <a:r>
                <a:rPr lang="en" sz="1333" b="1" dirty="0">
                  <a:solidFill>
                    <a:schemeClr val="bg1"/>
                  </a:solidFill>
                </a:rPr>
                <a:t>Preprocessing</a:t>
              </a:r>
              <a:br>
                <a:rPr lang="de-DE" sz="1333" b="1" dirty="0">
                  <a:solidFill>
                    <a:schemeClr val="bg1"/>
                  </a:solidFill>
                </a:rPr>
              </a:br>
              <a:r>
                <a:rPr lang="de-DE" sz="1333" b="1" dirty="0">
                  <a:solidFill>
                    <a:schemeClr val="bg1"/>
                  </a:solidFill>
                </a:rPr>
                <a:t>Engine</a:t>
              </a:r>
            </a:p>
          </p:txBody>
        </p:sp>
        <p:sp>
          <p:nvSpPr>
            <p:cNvPr id="192" name="Abgerundetes Rechteck 121">
              <a:extLst>
                <a:ext uri="{FF2B5EF4-FFF2-40B4-BE49-F238E27FC236}">
                  <a16:creationId xmlns:a16="http://schemas.microsoft.com/office/drawing/2014/main" id="{F029ED38-4F78-42B8-AD03-38D2EEA9E544}"/>
                </a:ext>
              </a:extLst>
            </p:cNvPr>
            <p:cNvSpPr/>
            <p:nvPr/>
          </p:nvSpPr>
          <p:spPr bwMode="auto">
            <a:xfrm>
              <a:off x="323528" y="3065887"/>
              <a:ext cx="1440160" cy="288000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50000"/>
              </a:schemeClr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96000" anchor="ctr"/>
            <a:lstStyle/>
            <a:p>
              <a:pPr algn="r" rtl="0">
                <a:defRPr/>
              </a:pPr>
              <a:r>
                <a:rPr lang="de-DE" sz="1333" b="1" dirty="0">
                  <a:solidFill>
                    <a:schemeClr val="bg1"/>
                  </a:solidFill>
                </a:rPr>
                <a:t>MQTT Broker</a:t>
              </a:r>
              <a:endParaRPr lang="de-DE" sz="1333" b="1" dirty="0">
                <a:solidFill>
                  <a:schemeClr val="tx1"/>
                </a:solidFill>
              </a:endParaRPr>
            </a:p>
          </p:txBody>
        </p:sp>
        <p:sp>
          <p:nvSpPr>
            <p:cNvPr id="193" name="Pfeil nach rechts 113">
              <a:extLst>
                <a:ext uri="{FF2B5EF4-FFF2-40B4-BE49-F238E27FC236}">
                  <a16:creationId xmlns:a16="http://schemas.microsoft.com/office/drawing/2014/main" id="{970CA977-4426-4969-91A9-3ECAF612C612}"/>
                </a:ext>
              </a:extLst>
            </p:cNvPr>
            <p:cNvSpPr/>
            <p:nvPr/>
          </p:nvSpPr>
          <p:spPr bwMode="auto">
            <a:xfrm>
              <a:off x="1818713" y="3075838"/>
              <a:ext cx="1252253" cy="288000"/>
            </a:xfrm>
            <a:prstGeom prst="rightArrow">
              <a:avLst>
                <a:gd name="adj1" fmla="val 67858"/>
                <a:gd name="adj2" fmla="val 58929"/>
              </a:avLst>
            </a:prstGeom>
            <a:solidFill>
              <a:schemeClr val="bg2">
                <a:lumMod val="5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de-DE" sz="1333" b="1" dirty="0"/>
                <a:t>MQTT</a:t>
              </a:r>
            </a:p>
          </p:txBody>
        </p:sp>
        <p:pic>
          <p:nvPicPr>
            <p:cNvPr id="195" name="Grafik 29">
              <a:extLst>
                <a:ext uri="{FF2B5EF4-FFF2-40B4-BE49-F238E27FC236}">
                  <a16:creationId xmlns:a16="http://schemas.microsoft.com/office/drawing/2014/main" id="{352E8D4F-B07F-4637-95A7-77D4808EE42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53492" y="3144214"/>
              <a:ext cx="294437" cy="1521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141124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4434" y="1412776"/>
            <a:ext cx="7393748" cy="4896544"/>
          </a:xfrm>
        </p:spPr>
        <p:txBody>
          <a:bodyPr/>
          <a:lstStyle/>
          <a:p>
            <a:pPr>
              <a:spcBef>
                <a:spcPts val="800"/>
              </a:spcBef>
            </a:pPr>
            <a:r>
              <a:rPr lang="en-GB" noProof="0" dirty="0"/>
              <a:t>Key Customers (Historical Softing/INAT) typically OPC Server or Easy Connect (</a:t>
            </a:r>
            <a:r>
              <a:rPr lang="en-GB" dirty="0"/>
              <a:t>OPC Tunnel) </a:t>
            </a:r>
            <a:r>
              <a:rPr lang="en-GB" noProof="0" dirty="0"/>
              <a:t>Customers</a:t>
            </a:r>
          </a:p>
          <a:p>
            <a:pPr lvl="1">
              <a:spcBef>
                <a:spcPts val="800"/>
              </a:spcBef>
            </a:pPr>
            <a:r>
              <a:rPr lang="en-GB" dirty="0"/>
              <a:t>Machine Builder</a:t>
            </a:r>
          </a:p>
          <a:p>
            <a:pPr lvl="1">
              <a:spcBef>
                <a:spcPts val="800"/>
              </a:spcBef>
            </a:pPr>
            <a:r>
              <a:rPr lang="en-GB" dirty="0"/>
              <a:t>Automation System Integrators/ Application Manufacturer </a:t>
            </a:r>
          </a:p>
          <a:p>
            <a:pPr lvl="1">
              <a:spcBef>
                <a:spcPts val="800"/>
              </a:spcBef>
            </a:pPr>
            <a:r>
              <a:rPr lang="en-GB" dirty="0"/>
              <a:t>End Customers </a:t>
            </a:r>
            <a:endParaRPr lang="en-GB" noProof="0" dirty="0"/>
          </a:p>
          <a:p>
            <a:pPr>
              <a:spcBef>
                <a:spcPts val="800"/>
              </a:spcBef>
            </a:pPr>
            <a:r>
              <a:rPr lang="en-GB" dirty="0"/>
              <a:t>Newer Customers </a:t>
            </a:r>
          </a:p>
          <a:p>
            <a:pPr lvl="1">
              <a:spcBef>
                <a:spcPts val="800"/>
              </a:spcBef>
            </a:pPr>
            <a:r>
              <a:rPr lang="en-GB" dirty="0"/>
              <a:t>IT System Integrators / Application Manufacture</a:t>
            </a:r>
          </a:p>
          <a:p>
            <a:pPr lvl="1">
              <a:spcBef>
                <a:spcPts val="800"/>
              </a:spcBef>
            </a:pPr>
            <a:r>
              <a:rPr lang="en-GB" dirty="0"/>
              <a:t>End Customers</a:t>
            </a:r>
          </a:p>
          <a:p>
            <a:pPr>
              <a:spcBef>
                <a:spcPts val="800"/>
              </a:spcBef>
            </a:pPr>
            <a:r>
              <a:rPr lang="en-GB" dirty="0"/>
              <a:t>Small Customers </a:t>
            </a:r>
          </a:p>
          <a:p>
            <a:pPr lvl="1">
              <a:spcBef>
                <a:spcPts val="800"/>
              </a:spcBef>
            </a:pPr>
            <a:r>
              <a:rPr lang="en-GB" dirty="0"/>
              <a:t>Mainly End Customers</a:t>
            </a:r>
          </a:p>
          <a:p>
            <a:pPr lvl="1">
              <a:spcBef>
                <a:spcPts val="800"/>
              </a:spcBef>
            </a:pPr>
            <a:r>
              <a:rPr lang="en-GB" dirty="0"/>
              <a:t>System Integrators</a:t>
            </a:r>
          </a:p>
          <a:p>
            <a:pPr lvl="1">
              <a:spcBef>
                <a:spcPts val="800"/>
              </a:spcBef>
            </a:pPr>
            <a:endParaRPr lang="en-GB" sz="1733" dirty="0"/>
          </a:p>
        </p:txBody>
      </p:sp>
      <p:sp>
        <p:nvSpPr>
          <p:cNvPr id="29697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marL="507987" indent="-507987">
              <a:defRPr/>
            </a:pPr>
            <a:r>
              <a:rPr lang="en-GB" dirty="0"/>
              <a:t>How to sell dataFEED OPC Suite</a:t>
            </a:r>
            <a:endParaRPr lang="en-GB" noProof="0" dirty="0">
              <a:solidFill>
                <a:srgbClr val="FF0000"/>
              </a:solidFill>
            </a:endParaRPr>
          </a:p>
        </p:txBody>
      </p:sp>
      <p:sp>
        <p:nvSpPr>
          <p:cNvPr id="29701" name="Textfeld 11"/>
          <p:cNvSpPr txBox="1">
            <a:spLocks noChangeArrowheads="1"/>
          </p:cNvSpPr>
          <p:nvPr/>
        </p:nvSpPr>
        <p:spPr bwMode="auto">
          <a:xfrm>
            <a:off x="314790" y="896785"/>
            <a:ext cx="3402213" cy="328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de-DE" sz="2133" b="1" dirty="0">
                <a:solidFill>
                  <a:srgbClr val="005591"/>
                </a:solidFill>
                <a:latin typeface="Calibri"/>
              </a:rPr>
              <a:t>Customers – Solutions Groups</a:t>
            </a:r>
          </a:p>
        </p:txBody>
      </p:sp>
    </p:spTree>
    <p:extLst>
      <p:ext uri="{BB962C8B-B14F-4D97-AF65-F5344CB8AC3E}">
        <p14:creationId xmlns:p14="http://schemas.microsoft.com/office/powerpoint/2010/main" val="4190291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F336D29-C362-FC1C-1DAD-E5A168ACE6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38857" y="270123"/>
            <a:ext cx="1895238" cy="76190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6E06C93-916F-2448-9851-3DE713709A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738" y="515129"/>
            <a:ext cx="9136848" cy="291387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1DFB7C7-6AD4-4F12-55DC-28B88AA478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900" y="3527909"/>
            <a:ext cx="9202523" cy="2913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1102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F46A1-1041-503E-5ED4-72834559E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8977" y="170122"/>
            <a:ext cx="11515060" cy="652839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F5A5E4A-6286-6C4F-1942-836A1F3844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3143" y="186143"/>
            <a:ext cx="7885714" cy="6485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8866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F46A1-1041-503E-5ED4-72834559E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77518" y="1122363"/>
            <a:ext cx="3703899" cy="23876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2AA35F-C962-077B-50E7-568B52A8B1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77518" y="3602038"/>
            <a:ext cx="3703899" cy="1655762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8879C4C-0EC2-BF46-2ED3-599300C183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3143" y="71857"/>
            <a:ext cx="7885714" cy="67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4435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F46A1-1041-503E-5ED4-72834559E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91786" y="1122363"/>
            <a:ext cx="3636335" cy="23876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2AA35F-C962-077B-50E7-568B52A8B1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91786" y="3602038"/>
            <a:ext cx="3636335" cy="1655762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8343509-B00C-01E2-09D0-3C74A9AB1A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1238" y="95666"/>
            <a:ext cx="7809524" cy="666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9442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F46A1-1041-503E-5ED4-72834559E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7990" y="1122363"/>
            <a:ext cx="3217762" cy="23876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2AA35F-C962-077B-50E7-568B52A8B1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27990" y="3602038"/>
            <a:ext cx="3402957" cy="1655762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6CD486-ACC7-44A2-65F9-6E777DB9DA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7905" y="352809"/>
            <a:ext cx="7876190" cy="6152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946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F07843D-9C04-EC02-F6CC-EC06C86F02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762" y="1171857"/>
            <a:ext cx="11190476" cy="451428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AB8D56C-1D3B-B4A6-8FFD-0AE77244F19C}"/>
              </a:ext>
            </a:extLst>
          </p:cNvPr>
          <p:cNvSpPr txBox="1"/>
          <p:nvPr/>
        </p:nvSpPr>
        <p:spPr>
          <a:xfrm>
            <a:off x="500762" y="457200"/>
            <a:ext cx="97596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dustrial Ethernet switches that are pre-programmed from the factory. No IT skills needed.</a:t>
            </a:r>
          </a:p>
        </p:txBody>
      </p:sp>
    </p:spTree>
    <p:extLst>
      <p:ext uri="{BB962C8B-B14F-4D97-AF65-F5344CB8AC3E}">
        <p14:creationId xmlns:p14="http://schemas.microsoft.com/office/powerpoint/2010/main" val="2291157623"/>
      </p:ext>
    </p:extLst>
  </p:cSld>
  <p:clrMapOvr>
    <a:masterClrMapping/>
  </p:clrMapOvr>
  <p:transition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48DDE22-53C0-B164-B175-A7DD4D5E75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166" y="1290520"/>
            <a:ext cx="6228571" cy="344761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DBC059F-8030-ED3E-B3EC-B223758514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0216" y="194060"/>
            <a:ext cx="2019048" cy="379047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299304F-1F8B-B090-F519-3D3357EF6A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6406" y="4225848"/>
            <a:ext cx="3066667" cy="232380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B2A69DE-2327-184E-06E0-29E9E75FA4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71253" y="967932"/>
            <a:ext cx="2200000" cy="308571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6310264-E688-0D40-D530-353F8CE296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88617" y="3735683"/>
            <a:ext cx="1365271" cy="281397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4429667-D7A3-165A-9D52-3378CC9B2EE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98785" y="542531"/>
            <a:ext cx="1980952" cy="2561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180835"/>
      </p:ext>
    </p:extLst>
  </p:cSld>
  <p:clrMapOvr>
    <a:masterClrMapping/>
  </p:clrMapOvr>
  <p:transition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F46A1-1041-503E-5ED4-72834559E45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2AA35F-C962-077B-50E7-568B52A8B15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Want to set up an online demo?</a:t>
            </a:r>
          </a:p>
          <a:p>
            <a:r>
              <a:rPr lang="en-US" dirty="0"/>
              <a:t>Joel Austin </a:t>
            </a:r>
          </a:p>
          <a:p>
            <a:r>
              <a:rPr lang="en-US" dirty="0"/>
              <a:t>602-909-6315</a:t>
            </a:r>
          </a:p>
          <a:p>
            <a:r>
              <a:rPr lang="en-US" dirty="0"/>
              <a:t>Joel.austin@softing.u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AAFB9B1-3747-40CD-EDEC-6A8C884229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38857" y="270123"/>
            <a:ext cx="1895238" cy="761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5481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B70F0BC-9495-3FC5-4C60-2969C69386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596" y="101207"/>
            <a:ext cx="9992946" cy="55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718154"/>
      </p:ext>
    </p:extLst>
  </p:cSld>
  <p:clrMapOvr>
    <a:masterClrMapping/>
  </p:clrMapOvr>
  <p:transition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Oval 109">
            <a:extLst>
              <a:ext uri="{FF2B5EF4-FFF2-40B4-BE49-F238E27FC236}">
                <a16:creationId xmlns:a16="http://schemas.microsoft.com/office/drawing/2014/main" id="{B3323914-7170-494E-81A2-991719340E6B}"/>
              </a:ext>
            </a:extLst>
          </p:cNvPr>
          <p:cNvSpPr/>
          <p:nvPr/>
        </p:nvSpPr>
        <p:spPr>
          <a:xfrm>
            <a:off x="9958320" y="3326990"/>
            <a:ext cx="1178029" cy="704555"/>
          </a:xfrm>
          <a:prstGeom prst="ellipse">
            <a:avLst/>
          </a:prstGeom>
          <a:solidFill>
            <a:schemeClr val="accent6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55AE27B6-1FDD-4986-85D6-76C0720C40DF}"/>
              </a:ext>
            </a:extLst>
          </p:cNvPr>
          <p:cNvSpPr/>
          <p:nvPr/>
        </p:nvSpPr>
        <p:spPr>
          <a:xfrm>
            <a:off x="9409473" y="4382392"/>
            <a:ext cx="2438024" cy="1482405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4603992-D520-4871-8D0F-C6EC10FE15F5}"/>
              </a:ext>
            </a:extLst>
          </p:cNvPr>
          <p:cNvSpPr/>
          <p:nvPr/>
        </p:nvSpPr>
        <p:spPr>
          <a:xfrm rot="10800000">
            <a:off x="1109917" y="771675"/>
            <a:ext cx="2295759" cy="1558271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B12983C8-AAC4-4C63-9813-332F896068BE}"/>
              </a:ext>
            </a:extLst>
          </p:cNvPr>
          <p:cNvSpPr/>
          <p:nvPr/>
        </p:nvSpPr>
        <p:spPr>
          <a:xfrm rot="16200000">
            <a:off x="-2554376" y="3182139"/>
            <a:ext cx="6168421" cy="596995"/>
          </a:xfrm>
          <a:prstGeom prst="rightArrow">
            <a:avLst/>
          </a:prstGeom>
          <a:solidFill>
            <a:schemeClr val="bg2">
              <a:lumMod val="9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D536042E-1526-4902-923C-271C3EAA70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1045" y="108846"/>
            <a:ext cx="1290122" cy="445919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BE8BA7EB-5120-4BA8-B719-71A1B3BF3DCE}"/>
              </a:ext>
            </a:extLst>
          </p:cNvPr>
          <p:cNvSpPr txBox="1"/>
          <p:nvPr/>
        </p:nvSpPr>
        <p:spPr>
          <a:xfrm>
            <a:off x="3385641" y="-960220"/>
            <a:ext cx="18839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93C3F"/>
                </a:solidFill>
                <a:effectLst/>
                <a:uLnTx/>
                <a:uFillTx/>
                <a:latin typeface="Arial" charset="0"/>
                <a:cs typeface="Arial" charset="0"/>
              </a:rPr>
              <a:t>Copper and fiber certifier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AD683F7-63A4-4789-8643-5C37B27F4B36}"/>
              </a:ext>
            </a:extLst>
          </p:cNvPr>
          <p:cNvSpPr txBox="1"/>
          <p:nvPr/>
        </p:nvSpPr>
        <p:spPr>
          <a:xfrm>
            <a:off x="4143513" y="2959150"/>
            <a:ext cx="140564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393C3F"/>
                </a:solidFill>
                <a:effectLst/>
                <a:uLnTx/>
                <a:uFillTx/>
                <a:latin typeface="Texta" panose="02000000000000000000" pitchFamily="50" charset="0"/>
                <a:cs typeface="Arial" charset="0"/>
              </a:rPr>
              <a:t>Copper/Fiber/Wi-Fi project qualifier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7271709-01A9-4965-A827-C2BF35F9EE52}"/>
              </a:ext>
            </a:extLst>
          </p:cNvPr>
          <p:cNvGrpSpPr/>
          <p:nvPr/>
        </p:nvGrpSpPr>
        <p:grpSpPr>
          <a:xfrm>
            <a:off x="865033" y="2558597"/>
            <a:ext cx="1293418" cy="823746"/>
            <a:chOff x="9607603" y="420070"/>
            <a:chExt cx="1293418" cy="823746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B04C6FC5-4613-47BA-863A-F38CD7B36D58}"/>
                </a:ext>
              </a:extLst>
            </p:cNvPr>
            <p:cNvSpPr txBox="1"/>
            <p:nvPr/>
          </p:nvSpPr>
          <p:spPr>
            <a:xfrm>
              <a:off x="9607603" y="812929"/>
              <a:ext cx="1293418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393C3F"/>
                  </a:solidFill>
                  <a:effectLst/>
                  <a:uLnTx/>
                  <a:uFillTx/>
                  <a:latin typeface="Texta" panose="02000000000000000000" pitchFamily="50" charset="0"/>
                  <a:cs typeface="Arial" charset="0"/>
                </a:rPr>
                <a:t>Copper/Wi-Fi project qualifier</a:t>
              </a:r>
            </a:p>
          </p:txBody>
        </p:sp>
        <p:pic>
          <p:nvPicPr>
            <p:cNvPr id="61" name="Picture 60" descr="Logo&#10;&#10;Description automatically generated">
              <a:extLst>
                <a:ext uri="{FF2B5EF4-FFF2-40B4-BE49-F238E27FC236}">
                  <a16:creationId xmlns:a16="http://schemas.microsoft.com/office/drawing/2014/main" id="{83B02901-5272-410C-9BA2-5AD986C4A88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84680" y="420070"/>
              <a:ext cx="1028685" cy="420107"/>
            </a:xfrm>
            <a:prstGeom prst="rect">
              <a:avLst/>
            </a:prstGeom>
          </p:spPr>
        </p:pic>
      </p:grpSp>
      <p:pic>
        <p:nvPicPr>
          <p:cNvPr id="30" name="Picture 29" descr="A couple of cell phones&#10;&#10;Description automatically generated with low confidence">
            <a:extLst>
              <a:ext uri="{FF2B5EF4-FFF2-40B4-BE49-F238E27FC236}">
                <a16:creationId xmlns:a16="http://schemas.microsoft.com/office/drawing/2014/main" id="{D7392377-8110-4CDB-B36C-1079BF0E94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0566" y="876111"/>
            <a:ext cx="1983148" cy="1626915"/>
          </a:xfrm>
          <a:prstGeom prst="rect">
            <a:avLst/>
          </a:prstGeom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7CFFE85C-1B08-4113-841C-FBAFB62DDE8E}"/>
              </a:ext>
            </a:extLst>
          </p:cNvPr>
          <p:cNvSpPr txBox="1"/>
          <p:nvPr/>
        </p:nvSpPr>
        <p:spPr>
          <a:xfrm>
            <a:off x="5161931" y="108846"/>
            <a:ext cx="15302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93C3F"/>
                </a:solidFill>
                <a:effectLst/>
                <a:uLnTx/>
                <a:uFillTx/>
                <a:latin typeface="Texta" panose="02000000000000000000" pitchFamily="50" charset="0"/>
                <a:cs typeface="Arial" charset="0"/>
              </a:rPr>
              <a:t>Copper/Fiber Certifier to CAT 8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FE84630-ED46-4742-91F5-19DC76CB11B3}"/>
              </a:ext>
            </a:extLst>
          </p:cNvPr>
          <p:cNvSpPr txBox="1"/>
          <p:nvPr/>
        </p:nvSpPr>
        <p:spPr>
          <a:xfrm>
            <a:off x="2528756" y="108846"/>
            <a:ext cx="113986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93C3F"/>
                </a:solidFill>
                <a:effectLst/>
                <a:uLnTx/>
                <a:uFillTx/>
                <a:latin typeface="Texta" panose="02000000000000000000" pitchFamily="50" charset="0"/>
                <a:cs typeface="Arial" charset="0"/>
              </a:rPr>
              <a:t>Copper Certifier to CAT 6A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AA483FA7-46DB-4754-9902-522C923045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7950" b="90126" l="4409" r="97628">
                        <a14:foregroundMark x1="4409" y1="29874" x2="5564" y2="48368"/>
                        <a14:foregroundMark x1="10672" y1="30711" x2="7479" y2="56151"/>
                        <a14:foregroundMark x1="7479" y1="56151" x2="7388" y2="56151"/>
                        <a14:foregroundMark x1="21709" y1="36485" x2="21770" y2="57992"/>
                        <a14:foregroundMark x1="22074" y1="25858" x2="21526" y2="27448"/>
                        <a14:foregroundMark x1="26513" y1="36067" x2="27486" y2="54561"/>
                        <a14:foregroundMark x1="27486" y1="54561" x2="27151" y2="56402"/>
                        <a14:foregroundMark x1="36759" y1="34059" x2="32867" y2="41506"/>
                        <a14:foregroundMark x1="32867" y1="41506" x2="32867" y2="53975"/>
                        <a14:foregroundMark x1="32867" y1="53975" x2="36850" y2="60084"/>
                        <a14:foregroundMark x1="36850" y1="60084" x2="39313" y2="57238"/>
                        <a14:foregroundMark x1="58133" y1="8117" x2="58255" y2="10209"/>
                        <a14:foregroundMark x1="62785" y1="38075" x2="62603" y2="70544"/>
                        <a14:foregroundMark x1="76193" y1="40921" x2="75676" y2="52218"/>
                        <a14:foregroundMark x1="75676" y1="52218" x2="79568" y2="59916"/>
                        <a14:foregroundMark x1="79568" y1="59916" x2="83034" y2="56485"/>
                        <a14:foregroundMark x1="90362" y1="36067" x2="88051" y2="48870"/>
                        <a14:foregroundMark x1="88051" y1="48870" x2="88081" y2="57238"/>
                        <a14:foregroundMark x1="95074" y1="28368" x2="95135" y2="56904"/>
                        <a14:foregroundMark x1="95135" y1="56904" x2="95257" y2="57992"/>
                        <a14:foregroundMark x1="94132" y1="71967" x2="93129" y2="82510"/>
                        <a14:foregroundMark x1="93129" y1="82510" x2="93889" y2="88452"/>
                        <a14:foregroundMark x1="96920" y1="78691" x2="97628" y2="82845"/>
                        <a14:foregroundMark x1="95561" y1="70711" x2="96033" y2="73481"/>
                        <a14:foregroundMark x1="97628" y1="82845" x2="96838" y2="90126"/>
                        <a14:foregroundMark x1="87078" y1="71297" x2="86318" y2="84184"/>
                        <a14:foregroundMark x1="86318" y1="84184" x2="86957" y2="89540"/>
                        <a14:foregroundMark x1="80207" y1="71130" x2="79811" y2="79833"/>
                        <a14:foregroundMark x1="76193" y1="73389" x2="76041" y2="85523"/>
                        <a14:foregroundMark x1="4500" y1="29874" x2="7023" y2="56402"/>
                        <a14:foregroundMark x1="7023" y1="56402" x2="7145" y2="56653"/>
                        <a14:foregroundMark x1="8088" y1="53891" x2="11310" y2="31715"/>
                        <a14:backgroundMark x1="74582" y1="80753" x2="74521" y2="82092"/>
                        <a14:backgroundMark x1="96047" y1="73473" x2="96260" y2="76485"/>
                        <a14:backgroundMark x1="95804" y1="73305" x2="95561" y2="80502"/>
                        <a14:backgroundMark x1="95287" y1="76820" x2="95531" y2="8468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88887" y="108846"/>
            <a:ext cx="1439112" cy="486348"/>
          </a:xfrm>
          <a:prstGeom prst="rect">
            <a:avLst/>
          </a:prstGeom>
        </p:spPr>
      </p:pic>
      <p:grpSp>
        <p:nvGrpSpPr>
          <p:cNvPr id="88" name="Group 87">
            <a:extLst>
              <a:ext uri="{FF2B5EF4-FFF2-40B4-BE49-F238E27FC236}">
                <a16:creationId xmlns:a16="http://schemas.microsoft.com/office/drawing/2014/main" id="{70CC628E-FD3F-4409-9A70-F73A58A0D2FD}"/>
              </a:ext>
            </a:extLst>
          </p:cNvPr>
          <p:cNvGrpSpPr/>
          <p:nvPr/>
        </p:nvGrpSpPr>
        <p:grpSpPr>
          <a:xfrm>
            <a:off x="1153218" y="108846"/>
            <a:ext cx="1439112" cy="486348"/>
            <a:chOff x="8763166" y="7397"/>
            <a:chExt cx="1439112" cy="486348"/>
          </a:xfrm>
        </p:grpSpPr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3EBA8819-29C1-4C76-94CD-9C602709C46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7950" b="90126" l="4409" r="97628">
                          <a14:foregroundMark x1="4409" y1="29874" x2="5564" y2="48368"/>
                          <a14:foregroundMark x1="10672" y1="30711" x2="7479" y2="56151"/>
                          <a14:foregroundMark x1="7479" y1="56151" x2="7388" y2="56151"/>
                          <a14:foregroundMark x1="21709" y1="36485" x2="21770" y2="57992"/>
                          <a14:foregroundMark x1="22074" y1="25858" x2="21526" y2="27448"/>
                          <a14:foregroundMark x1="26513" y1="36067" x2="27486" y2="54561"/>
                          <a14:foregroundMark x1="27486" y1="54561" x2="27151" y2="56402"/>
                          <a14:foregroundMark x1="36759" y1="34059" x2="32867" y2="41506"/>
                          <a14:foregroundMark x1="32867" y1="41506" x2="32867" y2="53975"/>
                          <a14:foregroundMark x1="32867" y1="53975" x2="36850" y2="60084"/>
                          <a14:foregroundMark x1="36850" y1="60084" x2="39313" y2="57238"/>
                          <a14:foregroundMark x1="58133" y1="8117" x2="58255" y2="10209"/>
                          <a14:foregroundMark x1="62785" y1="38075" x2="62603" y2="70544"/>
                          <a14:foregroundMark x1="76193" y1="40921" x2="75676" y2="52218"/>
                          <a14:foregroundMark x1="75676" y1="52218" x2="79568" y2="59916"/>
                          <a14:foregroundMark x1="79568" y1="59916" x2="83034" y2="56485"/>
                          <a14:foregroundMark x1="90362" y1="36067" x2="88051" y2="48870"/>
                          <a14:foregroundMark x1="88051" y1="48870" x2="88081" y2="57238"/>
                          <a14:foregroundMark x1="95074" y1="28368" x2="95135" y2="56904"/>
                          <a14:foregroundMark x1="95135" y1="56904" x2="95257" y2="57992"/>
                          <a14:foregroundMark x1="94132" y1="71967" x2="93129" y2="82510"/>
                          <a14:foregroundMark x1="93129" y1="82510" x2="93889" y2="88452"/>
                          <a14:foregroundMark x1="96920" y1="78691" x2="97628" y2="82845"/>
                          <a14:foregroundMark x1="95561" y1="70711" x2="96033" y2="73481"/>
                          <a14:foregroundMark x1="97628" y1="82845" x2="96838" y2="90126"/>
                          <a14:foregroundMark x1="87078" y1="71297" x2="86318" y2="84184"/>
                          <a14:foregroundMark x1="86318" y1="84184" x2="86957" y2="89540"/>
                          <a14:foregroundMark x1="80207" y1="71130" x2="79811" y2="79833"/>
                          <a14:foregroundMark x1="76193" y1="73389" x2="76041" y2="85523"/>
                          <a14:foregroundMark x1="4500" y1="29874" x2="7023" y2="56402"/>
                          <a14:foregroundMark x1="7023" y1="56402" x2="7145" y2="56653"/>
                          <a14:foregroundMark x1="8088" y1="53891" x2="11310" y2="31715"/>
                          <a14:backgroundMark x1="74582" y1="80753" x2="74521" y2="82092"/>
                          <a14:backgroundMark x1="96047" y1="73473" x2="96260" y2="76485"/>
                          <a14:backgroundMark x1="95804" y1="73305" x2="95561" y2="80502"/>
                          <a14:backgroundMark x1="95287" y1="76820" x2="95531" y2="8468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763166" y="7397"/>
              <a:ext cx="1439112" cy="486348"/>
            </a:xfrm>
            <a:prstGeom prst="rect">
              <a:avLst/>
            </a:prstGeom>
          </p:spPr>
        </p:pic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2F55567D-DFB6-4DE2-8F7B-F39CA8571A2B}"/>
                </a:ext>
              </a:extLst>
            </p:cNvPr>
            <p:cNvSpPr/>
            <p:nvPr/>
          </p:nvSpPr>
          <p:spPr>
            <a:xfrm>
              <a:off x="9738928" y="332897"/>
              <a:ext cx="144016" cy="1307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C7EE8E8D-7455-4E8C-AA4E-6CCFE2658AA6}"/>
              </a:ext>
            </a:extLst>
          </p:cNvPr>
          <p:cNvSpPr txBox="1"/>
          <p:nvPr/>
        </p:nvSpPr>
        <p:spPr>
          <a:xfrm rot="16200000">
            <a:off x="-2249110" y="2824729"/>
            <a:ext cx="55368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93C3F"/>
                </a:solidFill>
                <a:effectLst/>
                <a:uLnTx/>
                <a:uFillTx/>
                <a:latin typeface="Arial" charset="0"/>
                <a:cs typeface="Arial" charset="0"/>
              </a:rPr>
              <a:t>Verification	Qualification	Certification</a:t>
            </a:r>
          </a:p>
        </p:txBody>
      </p:sp>
      <p:pic>
        <p:nvPicPr>
          <p:cNvPr id="58" name="Picture 57" descr="A picture containing indoor&#10;&#10;Description automatically generated">
            <a:extLst>
              <a:ext uri="{FF2B5EF4-FFF2-40B4-BE49-F238E27FC236}">
                <a16:creationId xmlns:a16="http://schemas.microsoft.com/office/drawing/2014/main" id="{CC886498-DBAD-4441-96B5-AF11446580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27196" y="4510452"/>
            <a:ext cx="1489197" cy="387900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C47D23DA-A5D6-4F61-9FE2-27E88618B16A}"/>
              </a:ext>
            </a:extLst>
          </p:cNvPr>
          <p:cNvSpPr txBox="1"/>
          <p:nvPr/>
        </p:nvSpPr>
        <p:spPr>
          <a:xfrm>
            <a:off x="4166827" y="4517890"/>
            <a:ext cx="191734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93C3F"/>
                </a:solidFill>
                <a:effectLst/>
                <a:uLnTx/>
                <a:uFillTx/>
                <a:latin typeface="Texta" panose="02000000000000000000" pitchFamily="50" charset="0"/>
                <a:cs typeface="Arial" charset="0"/>
              </a:rPr>
              <a:t>Copper/Fiber/Wi-Fi testing in your pocket</a:t>
            </a:r>
          </a:p>
        </p:txBody>
      </p:sp>
      <p:pic>
        <p:nvPicPr>
          <p:cNvPr id="63" name="Picture 62" descr="A picture containing text, clipart, sign&#10;&#10;Description automatically generated">
            <a:extLst>
              <a:ext uri="{FF2B5EF4-FFF2-40B4-BE49-F238E27FC236}">
                <a16:creationId xmlns:a16="http://schemas.microsoft.com/office/drawing/2014/main" id="{D6E91C98-B215-4FB9-8268-BCCFA893623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3849" y="4215541"/>
            <a:ext cx="1012112" cy="343087"/>
          </a:xfrm>
          <a:prstGeom prst="rect">
            <a:avLst/>
          </a:prstGeom>
        </p:spPr>
      </p:pic>
      <p:sp>
        <p:nvSpPr>
          <p:cNvPr id="106" name="TextBox 105">
            <a:extLst>
              <a:ext uri="{FF2B5EF4-FFF2-40B4-BE49-F238E27FC236}">
                <a16:creationId xmlns:a16="http://schemas.microsoft.com/office/drawing/2014/main" id="{052DC2D9-2F90-4F51-AB6B-9EAC7352BCEB}"/>
              </a:ext>
            </a:extLst>
          </p:cNvPr>
          <p:cNvSpPr txBox="1"/>
          <p:nvPr/>
        </p:nvSpPr>
        <p:spPr>
          <a:xfrm>
            <a:off x="5486100" y="4250234"/>
            <a:ext cx="5174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93C3F"/>
                </a:solidFill>
                <a:effectLst/>
                <a:uLnTx/>
                <a:uFillTx/>
                <a:latin typeface="Texta" panose="02000000000000000000" pitchFamily="50" charset="0"/>
                <a:cs typeface="Arial" charset="0"/>
              </a:rPr>
              <a:t>M3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DD04385-0270-41B2-B0D2-3CA9603B601F}"/>
              </a:ext>
            </a:extLst>
          </p:cNvPr>
          <p:cNvSpPr txBox="1"/>
          <p:nvPr/>
        </p:nvSpPr>
        <p:spPr>
          <a:xfrm>
            <a:off x="1273485" y="4517890"/>
            <a:ext cx="11050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93C3F"/>
                </a:solidFill>
                <a:effectLst/>
                <a:uLnTx/>
                <a:uFillTx/>
                <a:latin typeface="Texta" panose="02000000000000000000" pitchFamily="50" charset="0"/>
                <a:cs typeface="Arial" charset="0"/>
              </a:rPr>
              <a:t>Copper testing in your pocket</a:t>
            </a:r>
          </a:p>
        </p:txBody>
      </p:sp>
      <p:pic>
        <p:nvPicPr>
          <p:cNvPr id="28" name="Picture 27" descr="A picture containing text, clipart, sign&#10;&#10;Description automatically generated">
            <a:extLst>
              <a:ext uri="{FF2B5EF4-FFF2-40B4-BE49-F238E27FC236}">
                <a16:creationId xmlns:a16="http://schemas.microsoft.com/office/drawing/2014/main" id="{502E36D2-F5FE-4C64-9988-0DB92D08EF5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019" y="4215541"/>
            <a:ext cx="1012112" cy="343087"/>
          </a:xfrm>
          <a:prstGeom prst="rect">
            <a:avLst/>
          </a:prstGeom>
        </p:spPr>
      </p:pic>
      <p:sp>
        <p:nvSpPr>
          <p:cNvPr id="107" name="TextBox 106">
            <a:extLst>
              <a:ext uri="{FF2B5EF4-FFF2-40B4-BE49-F238E27FC236}">
                <a16:creationId xmlns:a16="http://schemas.microsoft.com/office/drawing/2014/main" id="{6A800509-32EA-41E0-9DDA-E698CB82C320}"/>
              </a:ext>
            </a:extLst>
          </p:cNvPr>
          <p:cNvSpPr txBox="1"/>
          <p:nvPr/>
        </p:nvSpPr>
        <p:spPr>
          <a:xfrm>
            <a:off x="2368786" y="4250234"/>
            <a:ext cx="4142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93C3F"/>
                </a:solidFill>
                <a:effectLst/>
                <a:uLnTx/>
                <a:uFillTx/>
                <a:latin typeface="Texta" panose="02000000000000000000" pitchFamily="50" charset="0"/>
                <a:cs typeface="Arial" charset="0"/>
              </a:rPr>
              <a:t>TP</a:t>
            </a:r>
          </a:p>
        </p:txBody>
      </p:sp>
      <p:pic>
        <p:nvPicPr>
          <p:cNvPr id="108" name="Picture 107" descr="Graphical user interface&#10;&#10;Description automatically generated">
            <a:extLst>
              <a:ext uri="{FF2B5EF4-FFF2-40B4-BE49-F238E27FC236}">
                <a16:creationId xmlns:a16="http://schemas.microsoft.com/office/drawing/2014/main" id="{12424203-6260-4EB7-A17F-0582B9D9553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577049" y="4645549"/>
            <a:ext cx="2088557" cy="1136850"/>
          </a:xfrm>
          <a:prstGeom prst="rect">
            <a:avLst/>
          </a:prstGeom>
        </p:spPr>
      </p:pic>
      <p:pic>
        <p:nvPicPr>
          <p:cNvPr id="109" name="Picture 108">
            <a:extLst>
              <a:ext uri="{FF2B5EF4-FFF2-40B4-BE49-F238E27FC236}">
                <a16:creationId xmlns:a16="http://schemas.microsoft.com/office/drawing/2014/main" id="{3864B2B3-3939-4163-9464-C520B0E93DD0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962"/>
          <a:stretch/>
        </p:blipFill>
        <p:spPr>
          <a:xfrm>
            <a:off x="10085006" y="3381631"/>
            <a:ext cx="1028685" cy="560046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F1B012EB-8E79-4DAD-9596-30C9019000EE}"/>
              </a:ext>
            </a:extLst>
          </p:cNvPr>
          <p:cNvGrpSpPr/>
          <p:nvPr/>
        </p:nvGrpSpPr>
        <p:grpSpPr>
          <a:xfrm>
            <a:off x="9981174" y="2642531"/>
            <a:ext cx="1236351" cy="685876"/>
            <a:chOff x="10815640" y="2802234"/>
            <a:chExt cx="1330642" cy="758489"/>
          </a:xfrm>
        </p:grpSpPr>
        <p:pic>
          <p:nvPicPr>
            <p:cNvPr id="112" name="Picture 111">
              <a:extLst>
                <a:ext uri="{FF2B5EF4-FFF2-40B4-BE49-F238E27FC236}">
                  <a16:creationId xmlns:a16="http://schemas.microsoft.com/office/drawing/2014/main" id="{132CCDAB-722F-4455-ACD9-AC1BF36697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0843137" y="2802234"/>
              <a:ext cx="1134387" cy="351500"/>
            </a:xfrm>
            <a:prstGeom prst="rect">
              <a:avLst/>
            </a:prstGeom>
          </p:spPr>
        </p:pic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44E20260-8ED3-40DC-9FE0-6B2C9731C464}"/>
                </a:ext>
              </a:extLst>
            </p:cNvPr>
            <p:cNvSpPr txBox="1"/>
            <p:nvPr/>
          </p:nvSpPr>
          <p:spPr>
            <a:xfrm>
              <a:off x="10815640" y="3084219"/>
              <a:ext cx="1330642" cy="4765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393C3F"/>
                  </a:solidFill>
                  <a:effectLst/>
                  <a:uLnTx/>
                  <a:uFillTx/>
                  <a:latin typeface="Texta" panose="02000000000000000000" pitchFamily="50" charset="0"/>
                  <a:cs typeface="Arial" charset="0"/>
                </a:rPr>
                <a:t>Wi-Fi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393C3F"/>
                  </a:solidFill>
                  <a:effectLst/>
                  <a:uLnTx/>
                  <a:uFillTx/>
                  <a:latin typeface="Texta" panose="02000000000000000000" pitchFamily="50" charset="0"/>
                  <a:cs typeface="Arial" charset="0"/>
                </a:rPr>
                <a:t>Packet analyzer</a:t>
              </a: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9CCD449E-3C19-4ADE-A596-EBEA24C24C6D}"/>
              </a:ext>
            </a:extLst>
          </p:cNvPr>
          <p:cNvSpPr txBox="1"/>
          <p:nvPr/>
        </p:nvSpPr>
        <p:spPr>
          <a:xfrm>
            <a:off x="9607609" y="4110808"/>
            <a:ext cx="290623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93C3F"/>
                </a:solidFill>
                <a:effectLst/>
                <a:uLnTx/>
                <a:uFillTx/>
                <a:latin typeface="Texta" panose="02000000000000000000" pitchFamily="50" charset="0"/>
                <a:cs typeface="Arial" charset="0"/>
              </a:rPr>
              <a:t>Fiber Microscope, Cleaning kits 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E0F3D316-5678-437E-A84E-51A803A9FCD7}"/>
              </a:ext>
            </a:extLst>
          </p:cNvPr>
          <p:cNvSpPr txBox="1"/>
          <p:nvPr/>
        </p:nvSpPr>
        <p:spPr>
          <a:xfrm>
            <a:off x="8106541" y="108846"/>
            <a:ext cx="121055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93C3F"/>
                </a:solidFill>
                <a:effectLst/>
                <a:uLnTx/>
                <a:uFillTx/>
                <a:latin typeface="Texta" panose="02000000000000000000" pitchFamily="50" charset="0"/>
                <a:cs typeface="Arial" charset="0"/>
              </a:rPr>
              <a:t>Fiber Tier 1 Certifier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0FCBEC23-2641-4E50-96D9-CAC0635F5E1E}"/>
              </a:ext>
            </a:extLst>
          </p:cNvPr>
          <p:cNvSpPr txBox="1"/>
          <p:nvPr/>
        </p:nvSpPr>
        <p:spPr>
          <a:xfrm>
            <a:off x="11005500" y="108846"/>
            <a:ext cx="11570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93C3F"/>
                </a:solidFill>
                <a:effectLst/>
                <a:uLnTx/>
                <a:uFillTx/>
                <a:latin typeface="Texta" panose="02000000000000000000" pitchFamily="50" charset="0"/>
                <a:cs typeface="Arial" charset="0"/>
              </a:rPr>
              <a:t>Fiber Tier 2 Certifier</a:t>
            </a:r>
          </a:p>
        </p:txBody>
      </p:sp>
      <p:pic>
        <p:nvPicPr>
          <p:cNvPr id="120" name="Picture 119" descr="Logo&#10;&#10;Description automatically generated">
            <a:extLst>
              <a:ext uri="{FF2B5EF4-FFF2-40B4-BE49-F238E27FC236}">
                <a16:creationId xmlns:a16="http://schemas.microsoft.com/office/drawing/2014/main" id="{D2151380-AA4A-4F90-95FC-9442610D103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088371" y="2517337"/>
            <a:ext cx="1382386" cy="574042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19E1E499-44A1-4556-7360-C8D0DA41EF66}"/>
              </a:ext>
            </a:extLst>
          </p:cNvPr>
          <p:cNvSpPr/>
          <p:nvPr/>
        </p:nvSpPr>
        <p:spPr>
          <a:xfrm rot="10800000">
            <a:off x="4032373" y="771676"/>
            <a:ext cx="2295759" cy="1558271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F8262FF-3916-2E2B-7100-AAB5E77484D6}"/>
              </a:ext>
            </a:extLst>
          </p:cNvPr>
          <p:cNvSpPr/>
          <p:nvPr/>
        </p:nvSpPr>
        <p:spPr>
          <a:xfrm rot="10800000">
            <a:off x="6922997" y="771675"/>
            <a:ext cx="2295759" cy="1558271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BF6573E-3A09-A121-AD78-74A241BDF65A}"/>
              </a:ext>
            </a:extLst>
          </p:cNvPr>
          <p:cNvSpPr/>
          <p:nvPr/>
        </p:nvSpPr>
        <p:spPr>
          <a:xfrm rot="10800000">
            <a:off x="9789114" y="771675"/>
            <a:ext cx="2295759" cy="1558271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22" name="Picture 21" descr="A couple of cell phones&#10;&#10;Description automatically generated with low confidence">
            <a:extLst>
              <a:ext uri="{FF2B5EF4-FFF2-40B4-BE49-F238E27FC236}">
                <a16:creationId xmlns:a16="http://schemas.microsoft.com/office/drawing/2014/main" id="{4A8996EB-8B67-BB9C-E60D-21C030D447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9301" y="844597"/>
            <a:ext cx="1983148" cy="1626915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6A702E71-911D-4631-0C53-638F254EFF27}"/>
              </a:ext>
            </a:extLst>
          </p:cNvPr>
          <p:cNvGrpSpPr/>
          <p:nvPr/>
        </p:nvGrpSpPr>
        <p:grpSpPr>
          <a:xfrm>
            <a:off x="6899324" y="74077"/>
            <a:ext cx="1830919" cy="2297555"/>
            <a:chOff x="2303611" y="541737"/>
            <a:chExt cx="1830919" cy="2297555"/>
          </a:xfrm>
        </p:grpSpPr>
        <p:pic>
          <p:nvPicPr>
            <p:cNvPr id="24" name="Picture 23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F1342949-AC32-95FA-0318-C16C7EAA9AE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10350" y="1220428"/>
              <a:ext cx="806821" cy="1618864"/>
            </a:xfrm>
            <a:prstGeom prst="rect">
              <a:avLst/>
            </a:prstGeom>
          </p:spPr>
        </p:pic>
        <p:pic>
          <p:nvPicPr>
            <p:cNvPr id="26" name="Picture 25" descr="Graphical user interface&#10;&#10;Description automatically generated">
              <a:extLst>
                <a:ext uri="{FF2B5EF4-FFF2-40B4-BE49-F238E27FC236}">
                  <a16:creationId xmlns:a16="http://schemas.microsoft.com/office/drawing/2014/main" id="{89748967-07F2-DF84-4A0D-6FAA0C0C1A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1763" y="1202891"/>
              <a:ext cx="652767" cy="1618863"/>
            </a:xfrm>
            <a:prstGeom prst="rect">
              <a:avLst/>
            </a:prstGeom>
          </p:spPr>
        </p:pic>
        <p:pic>
          <p:nvPicPr>
            <p:cNvPr id="27" name="Picture 26" descr="Logo&#10;&#10;Description automatically generated">
              <a:extLst>
                <a:ext uri="{FF2B5EF4-FFF2-40B4-BE49-F238E27FC236}">
                  <a16:creationId xmlns:a16="http://schemas.microsoft.com/office/drawing/2014/main" id="{D8A4EAC4-5A2D-EA5F-770E-802146B7E5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03611" y="541737"/>
              <a:ext cx="1290122" cy="507234"/>
            </a:xfrm>
            <a:prstGeom prst="rect">
              <a:avLst/>
            </a:prstGeom>
          </p:spPr>
        </p:pic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28CDC33D-2FD8-FDA8-76BC-27CCAF6931E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2630" y="918767"/>
            <a:ext cx="1128726" cy="1424174"/>
          </a:xfrm>
          <a:prstGeom prst="rect">
            <a:avLst/>
          </a:prstGeom>
        </p:spPr>
      </p:pic>
      <p:sp>
        <p:nvSpPr>
          <p:cNvPr id="36" name="Arrow: Right 35">
            <a:extLst>
              <a:ext uri="{FF2B5EF4-FFF2-40B4-BE49-F238E27FC236}">
                <a16:creationId xmlns:a16="http://schemas.microsoft.com/office/drawing/2014/main" id="{8CC449B1-61E7-04ED-DDA3-38F33A7B1C70}"/>
              </a:ext>
            </a:extLst>
          </p:cNvPr>
          <p:cNvSpPr/>
          <p:nvPr/>
        </p:nvSpPr>
        <p:spPr>
          <a:xfrm>
            <a:off x="704005" y="6109828"/>
            <a:ext cx="11380867" cy="596995"/>
          </a:xfrm>
          <a:prstGeom prst="rightArrow">
            <a:avLst/>
          </a:prstGeom>
          <a:gradFill flip="none" rotWithShape="1">
            <a:gsLst>
              <a:gs pos="47000">
                <a:schemeClr val="accent6"/>
              </a:gs>
              <a:gs pos="18000">
                <a:schemeClr val="accent1">
                  <a:lumMod val="20000"/>
                  <a:lumOff val="80000"/>
                </a:schemeClr>
              </a:gs>
              <a:gs pos="76000">
                <a:schemeClr val="accent1">
                  <a:lumMod val="75000"/>
                </a:schemeClr>
              </a:gs>
            </a:gsLst>
            <a:lin ang="0" scaled="1"/>
            <a:tileRect/>
          </a:gradFill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954F1D62-4E8E-46BC-DBB8-FE6773F60A32}"/>
              </a:ext>
            </a:extLst>
          </p:cNvPr>
          <p:cNvSpPr/>
          <p:nvPr/>
        </p:nvSpPr>
        <p:spPr>
          <a:xfrm>
            <a:off x="9017627" y="2510122"/>
            <a:ext cx="3144322" cy="3720558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F907B19-A748-9B00-439A-9D33D6C1C1CF}"/>
              </a:ext>
            </a:extLst>
          </p:cNvPr>
          <p:cNvSpPr txBox="1"/>
          <p:nvPr/>
        </p:nvSpPr>
        <p:spPr>
          <a:xfrm>
            <a:off x="9529275" y="6216888"/>
            <a:ext cx="21210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93C3F"/>
                </a:solidFill>
                <a:effectLst/>
                <a:uLnTx/>
                <a:uFillTx/>
                <a:latin typeface="Arial" charset="0"/>
                <a:cs typeface="Arial" charset="0"/>
              </a:rPr>
              <a:t>Accessories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E7F0EC3D-AFCC-5398-B017-56B9B9A11B0D}"/>
              </a:ext>
            </a:extLst>
          </p:cNvPr>
          <p:cNvSpPr/>
          <p:nvPr/>
        </p:nvSpPr>
        <p:spPr>
          <a:xfrm rot="10800000">
            <a:off x="1904421" y="2541719"/>
            <a:ext cx="2295759" cy="1558271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22585F-19C2-4B6B-A57C-711781FFA3C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7587" y="2806951"/>
            <a:ext cx="1588541" cy="890637"/>
          </a:xfrm>
          <a:prstGeom prst="rect">
            <a:avLst/>
          </a:prstGeom>
        </p:spPr>
      </p:pic>
      <p:sp>
        <p:nvSpPr>
          <p:cNvPr id="45" name="Oval 44">
            <a:extLst>
              <a:ext uri="{FF2B5EF4-FFF2-40B4-BE49-F238E27FC236}">
                <a16:creationId xmlns:a16="http://schemas.microsoft.com/office/drawing/2014/main" id="{BE6FE885-2F5E-B3B5-BC17-70A06B1AE642}"/>
              </a:ext>
            </a:extLst>
          </p:cNvPr>
          <p:cNvSpPr/>
          <p:nvPr/>
        </p:nvSpPr>
        <p:spPr>
          <a:xfrm rot="10800000">
            <a:off x="5365083" y="2542335"/>
            <a:ext cx="2295759" cy="1558271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34" name="Picture 3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A991CC42-34E0-4F57-8949-C261FB52583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9804" b="93583" l="6689" r="90803">
                        <a14:foregroundMark x1="15719" y1="43316" x2="37793" y2="39929"/>
                        <a14:foregroundMark x1="37793" y1="39929" x2="39632" y2="40107"/>
                        <a14:foregroundMark x1="18896" y1="52763" x2="21906" y2="57754"/>
                        <a14:foregroundMark x1="35619" y1="64884" x2="71739" y2="68093"/>
                        <a14:foregroundMark x1="73077" y1="70232" x2="48495" y2="75758"/>
                        <a14:foregroundMark x1="32609" y1="93583" x2="43645" y2="90196"/>
                        <a14:foregroundMark x1="70569" y1="66310" x2="75418" y2="61497"/>
                        <a14:foregroundMark x1="7023" y1="30481" x2="11037" y2="30125"/>
                        <a14:foregroundMark x1="90468" y1="56328" x2="88629" y2="55615"/>
                        <a14:foregroundMark x1="90803" y1="23529" x2="87291" y2="22995"/>
                        <a14:foregroundMark x1="52508" y1="25490" x2="52843" y2="2959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7956" y="2265880"/>
            <a:ext cx="2022401" cy="1897269"/>
          </a:xfrm>
          <a:prstGeom prst="rect">
            <a:avLst/>
          </a:prstGeom>
        </p:spPr>
      </p:pic>
      <p:sp>
        <p:nvSpPr>
          <p:cNvPr id="47" name="Oval 46">
            <a:extLst>
              <a:ext uri="{FF2B5EF4-FFF2-40B4-BE49-F238E27FC236}">
                <a16:creationId xmlns:a16="http://schemas.microsoft.com/office/drawing/2014/main" id="{751EED72-A7E8-5DD1-C8D6-FBFFAACE451D}"/>
              </a:ext>
            </a:extLst>
          </p:cNvPr>
          <p:cNvSpPr/>
          <p:nvPr/>
        </p:nvSpPr>
        <p:spPr>
          <a:xfrm rot="10800000">
            <a:off x="1904421" y="4645548"/>
            <a:ext cx="2295759" cy="1558271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D4A4AA2-E8F5-4223-AEFB-1BDB7DBE4EDE}"/>
              </a:ext>
            </a:extLst>
          </p:cNvPr>
          <p:cNvGrpSpPr/>
          <p:nvPr/>
        </p:nvGrpSpPr>
        <p:grpSpPr>
          <a:xfrm>
            <a:off x="2431259" y="4884853"/>
            <a:ext cx="1344181" cy="1113607"/>
            <a:chOff x="7824356" y="3635129"/>
            <a:chExt cx="1497513" cy="1287940"/>
          </a:xfrm>
        </p:grpSpPr>
        <p:pic>
          <p:nvPicPr>
            <p:cNvPr id="8" name="Picture 7" descr="A picture containing graphical user interface&#10;&#10;Description automatically generated">
              <a:extLst>
                <a:ext uri="{FF2B5EF4-FFF2-40B4-BE49-F238E27FC236}">
                  <a16:creationId xmlns:a16="http://schemas.microsoft.com/office/drawing/2014/main" id="{F650ED82-BAC0-4E0C-9CFD-25A235962D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18246" y="3635129"/>
              <a:ext cx="803623" cy="1150635"/>
            </a:xfrm>
            <a:prstGeom prst="rect">
              <a:avLst/>
            </a:prstGeom>
          </p:spPr>
        </p:pic>
        <p:pic>
          <p:nvPicPr>
            <p:cNvPr id="10" name="Picture 9" descr="A picture containing text, monitor, electronics, cellphone&#10;&#10;Description automatically generated">
              <a:extLst>
                <a:ext uri="{FF2B5EF4-FFF2-40B4-BE49-F238E27FC236}">
                  <a16:creationId xmlns:a16="http://schemas.microsoft.com/office/drawing/2014/main" id="{F58DB677-F802-48C1-9FE3-4D96AD8609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24356" y="3746258"/>
              <a:ext cx="737398" cy="1176811"/>
            </a:xfrm>
            <a:prstGeom prst="rect">
              <a:avLst/>
            </a:prstGeom>
          </p:spPr>
        </p:pic>
      </p:grpSp>
      <p:sp>
        <p:nvSpPr>
          <p:cNvPr id="49" name="Oval 48">
            <a:extLst>
              <a:ext uri="{FF2B5EF4-FFF2-40B4-BE49-F238E27FC236}">
                <a16:creationId xmlns:a16="http://schemas.microsoft.com/office/drawing/2014/main" id="{64B925C8-E293-4FB7-F6BC-FC1AE4368187}"/>
              </a:ext>
            </a:extLst>
          </p:cNvPr>
          <p:cNvSpPr/>
          <p:nvPr/>
        </p:nvSpPr>
        <p:spPr>
          <a:xfrm rot="10800000">
            <a:off x="5365083" y="4645548"/>
            <a:ext cx="2295759" cy="1558271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398C900-263A-4C9E-8D2F-B0C37A22C790}"/>
              </a:ext>
            </a:extLst>
          </p:cNvPr>
          <p:cNvGrpSpPr/>
          <p:nvPr/>
        </p:nvGrpSpPr>
        <p:grpSpPr>
          <a:xfrm>
            <a:off x="5857172" y="4892157"/>
            <a:ext cx="1372818" cy="1109911"/>
            <a:chOff x="7824356" y="3639404"/>
            <a:chExt cx="1529417" cy="1283665"/>
          </a:xfrm>
        </p:grpSpPr>
        <p:pic>
          <p:nvPicPr>
            <p:cNvPr id="64" name="Picture 63" descr="A picture containing graphical user interface&#10;&#10;Description automatically generated">
              <a:extLst>
                <a:ext uri="{FF2B5EF4-FFF2-40B4-BE49-F238E27FC236}">
                  <a16:creationId xmlns:a16="http://schemas.microsoft.com/office/drawing/2014/main" id="{6A621615-5953-427D-84F8-DB1D96CB430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50150" y="3639404"/>
              <a:ext cx="803623" cy="1150634"/>
            </a:xfrm>
            <a:prstGeom prst="rect">
              <a:avLst/>
            </a:prstGeom>
          </p:spPr>
        </p:pic>
        <p:pic>
          <p:nvPicPr>
            <p:cNvPr id="65" name="Picture 64" descr="A picture containing text, monitor, electronics, cellphone&#10;&#10;Description automatically generated">
              <a:extLst>
                <a:ext uri="{FF2B5EF4-FFF2-40B4-BE49-F238E27FC236}">
                  <a16:creationId xmlns:a16="http://schemas.microsoft.com/office/drawing/2014/main" id="{4C283708-F3FB-4CEF-BC8F-30B87DC06DE4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24356" y="3746258"/>
              <a:ext cx="737398" cy="11768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987267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1C61469-DD20-95CB-D201-64045DA6B0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3860" y="228797"/>
            <a:ext cx="5864280" cy="557106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BB5E444-31EA-8A9E-2D0C-280358335040}"/>
              </a:ext>
            </a:extLst>
          </p:cNvPr>
          <p:cNvSpPr txBox="1"/>
          <p:nvPr/>
        </p:nvSpPr>
        <p:spPr>
          <a:xfrm>
            <a:off x="441926" y="902156"/>
            <a:ext cx="272193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Qualification Te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P Discove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ing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one Genera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E Te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DP and LLD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race Rou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Wifi</a:t>
            </a:r>
            <a:r>
              <a:rPr lang="en-US" dirty="0"/>
              <a:t> troubleshooting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7882963"/>
      </p:ext>
    </p:extLst>
  </p:cSld>
  <p:clrMapOvr>
    <a:masterClrMapping/>
  </p:clrMapOvr>
  <p:transition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BEDD3FD-7BD6-8246-03FF-8E2B885E24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335" y="37214"/>
            <a:ext cx="9208372" cy="55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7181"/>
      </p:ext>
    </p:extLst>
  </p:cSld>
  <p:clrMapOvr>
    <a:masterClrMapping/>
  </p:clrMapOvr>
  <p:transition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phical user interface">
            <a:extLst>
              <a:ext uri="{FF2B5EF4-FFF2-40B4-BE49-F238E27FC236}">
                <a16:creationId xmlns:a16="http://schemas.microsoft.com/office/drawing/2014/main" id="{730AA34C-48BC-EF4C-3CCE-BCD5C32202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7200"/>
            <a:ext cx="9517913" cy="444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298309"/>
      </p:ext>
    </p:extLst>
  </p:cSld>
  <p:clrMapOvr>
    <a:masterClrMapping/>
  </p:clrMapOvr>
  <p:transition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7D7337B-52AE-7A91-F5BB-2799EDEDBA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447" y="357669"/>
            <a:ext cx="9898912" cy="5298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061101"/>
      </p:ext>
    </p:extLst>
  </p:cSld>
  <p:clrMapOvr>
    <a:masterClrMapping/>
  </p:clrMapOvr>
  <p:transition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aphical user interface&#10;&#10;Description automatically generated">
            <a:extLst>
              <a:ext uri="{FF2B5EF4-FFF2-40B4-BE49-F238E27FC236}">
                <a16:creationId xmlns:a16="http://schemas.microsoft.com/office/drawing/2014/main" id="{318A5D68-0713-F83B-72EF-F84B25216D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6149" y="0"/>
            <a:ext cx="7830293" cy="5644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300852"/>
      </p:ext>
    </p:extLst>
  </p:cSld>
  <p:clrMapOvr>
    <a:masterClrMapping/>
  </p:clrMapOvr>
  <p:transition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platzhalter 2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28" name="Titel 27"/>
          <p:cNvSpPr>
            <a:spLocks noGrp="1"/>
          </p:cNvSpPr>
          <p:nvPr>
            <p:ph type="title"/>
          </p:nvPr>
        </p:nvSpPr>
        <p:spPr>
          <a:xfrm>
            <a:off x="5872275" y="816764"/>
            <a:ext cx="5886091" cy="1337552"/>
          </a:xfrm>
        </p:spPr>
        <p:txBody>
          <a:bodyPr/>
          <a:lstStyle/>
          <a:p>
            <a:r>
              <a:rPr lang="en-GB" noProof="0" dirty="0"/>
              <a:t>dataFEED OPC Suite </a:t>
            </a:r>
            <a:br>
              <a:rPr lang="en-GB" noProof="0" dirty="0"/>
            </a:br>
            <a:r>
              <a:rPr lang="en-GB" sz="2400" dirty="0"/>
              <a:t>The “all in one” Data Integration Solution</a:t>
            </a:r>
          </a:p>
        </p:txBody>
      </p:sp>
      <p:pic>
        <p:nvPicPr>
          <p:cNvPr id="2" name="Bildplatzhalter 1">
            <a:extLst>
              <a:ext uri="{FF2B5EF4-FFF2-40B4-BE49-F238E27FC236}">
                <a16:creationId xmlns:a16="http://schemas.microsoft.com/office/drawing/2014/main" id="{B702370B-C6AF-45BE-8289-74CFA6624D3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l="24" r="24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C2B0A26-EAF1-F369-45D2-60CFAD9B56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8714" y="2003978"/>
            <a:ext cx="6133212" cy="2983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934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SOFTING_Industrial_neu">
  <a:themeElements>
    <a:clrScheme name="Softing Industrial">
      <a:dk1>
        <a:srgbClr val="1C1E1F"/>
      </a:dk1>
      <a:lt1>
        <a:srgbClr val="FFFFFF"/>
      </a:lt1>
      <a:dk2>
        <a:srgbClr val="1C1E1F"/>
      </a:dk2>
      <a:lt2>
        <a:srgbClr val="FFFFFF"/>
      </a:lt2>
      <a:accent1>
        <a:srgbClr val="005591"/>
      </a:accent1>
      <a:accent2>
        <a:srgbClr val="00A0E1"/>
      </a:accent2>
      <a:accent3>
        <a:srgbClr val="92D050"/>
      </a:accent3>
      <a:accent4>
        <a:srgbClr val="FFC000"/>
      </a:accent4>
      <a:accent5>
        <a:srgbClr val="C00000"/>
      </a:accent5>
      <a:accent6>
        <a:srgbClr val="7030A0"/>
      </a:accent6>
      <a:hlink>
        <a:srgbClr val="005591"/>
      </a:hlink>
      <a:folHlink>
        <a:srgbClr val="005591"/>
      </a:folHlink>
    </a:clrScheme>
    <a:fontScheme name="Softing_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Zusammengesetz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5000"/>
                <a:satMod val="300000"/>
              </a:schemeClr>
            </a:gs>
            <a:gs pos="12000">
              <a:schemeClr val="phClr">
                <a:tint val="50000"/>
                <a:shade val="90000"/>
                <a:satMod val="250000"/>
              </a:schemeClr>
            </a:gs>
            <a:gs pos="100000">
              <a:schemeClr val="phClr">
                <a:tint val="85000"/>
                <a:shade val="75000"/>
                <a:satMod val="1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75000"/>
                <a:shade val="95000"/>
                <a:satMod val="175000"/>
              </a:schemeClr>
            </a:gs>
            <a:gs pos="12000">
              <a:schemeClr val="phClr">
                <a:tint val="90000"/>
                <a:shade val="90000"/>
                <a:satMod val="150000"/>
              </a:schemeClr>
            </a:gs>
            <a:gs pos="100000">
              <a:schemeClr val="phClr">
                <a:tint val="100000"/>
                <a:shade val="75000"/>
                <a:satMod val="150000"/>
              </a:schemeClr>
            </a:gs>
          </a:gsLst>
          <a:lin ang="16200000" scaled="1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freezing" dir="t">
              <a:rot lat="0" lon="0" rev="6000000"/>
            </a:lightRig>
          </a:scene3d>
          <a:sp3d contourW="12700" prstMaterial="dkEdge">
            <a:bevelT w="44450" h="25400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Inhaltsangabe 1">
        <a:dk1>
          <a:srgbClr val="393C3F"/>
        </a:dk1>
        <a:lt1>
          <a:srgbClr val="FFFFFF"/>
        </a:lt1>
        <a:dk2>
          <a:srgbClr val="393C3F"/>
        </a:dk2>
        <a:lt2>
          <a:srgbClr val="6C7073"/>
        </a:lt2>
        <a:accent1>
          <a:srgbClr val="9DD7F1"/>
        </a:accent1>
        <a:accent2>
          <a:srgbClr val="099CDB"/>
        </a:accent2>
        <a:accent3>
          <a:srgbClr val="FFFFFF"/>
        </a:accent3>
        <a:accent4>
          <a:srgbClr val="2F3234"/>
        </a:accent4>
        <a:accent5>
          <a:srgbClr val="CCE8F7"/>
        </a:accent5>
        <a:accent6>
          <a:srgbClr val="078DC6"/>
        </a:accent6>
        <a:hlink>
          <a:srgbClr val="393C3F"/>
        </a:hlink>
        <a:folHlink>
          <a:srgbClr val="9599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Inhaltsangabe">
  <a:themeElements>
    <a:clrScheme name="Softing_Farben_072012">
      <a:dk1>
        <a:srgbClr val="393C3F"/>
      </a:dk1>
      <a:lt1>
        <a:srgbClr val="FFFFFF"/>
      </a:lt1>
      <a:dk2>
        <a:srgbClr val="393C3F"/>
      </a:dk2>
      <a:lt2>
        <a:srgbClr val="F2F2F2"/>
      </a:lt2>
      <a:accent1>
        <a:srgbClr val="008BCD"/>
      </a:accent1>
      <a:accent2>
        <a:srgbClr val="428E4F"/>
      </a:accent2>
      <a:accent3>
        <a:srgbClr val="5062D1"/>
      </a:accent3>
      <a:accent4>
        <a:srgbClr val="6F5755"/>
      </a:accent4>
      <a:accent5>
        <a:srgbClr val="009CAC"/>
      </a:accent5>
      <a:accent6>
        <a:srgbClr val="99CC00"/>
      </a:accent6>
      <a:hlink>
        <a:srgbClr val="008BCD"/>
      </a:hlink>
      <a:folHlink>
        <a:srgbClr val="961A7B"/>
      </a:folHlink>
    </a:clrScheme>
    <a:fontScheme name="1_Benutzerdefiniertes Design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Inhaltsangabe 1">
        <a:dk1>
          <a:srgbClr val="393C3F"/>
        </a:dk1>
        <a:lt1>
          <a:srgbClr val="FFFFFF"/>
        </a:lt1>
        <a:dk2>
          <a:srgbClr val="393C3F"/>
        </a:dk2>
        <a:lt2>
          <a:srgbClr val="6C7073"/>
        </a:lt2>
        <a:accent1>
          <a:srgbClr val="9DD7F1"/>
        </a:accent1>
        <a:accent2>
          <a:srgbClr val="099CDB"/>
        </a:accent2>
        <a:accent3>
          <a:srgbClr val="FFFFFF"/>
        </a:accent3>
        <a:accent4>
          <a:srgbClr val="2F3234"/>
        </a:accent4>
        <a:accent5>
          <a:srgbClr val="CCE8F7"/>
        </a:accent5>
        <a:accent6>
          <a:srgbClr val="078DC6"/>
        </a:accent6>
        <a:hlink>
          <a:srgbClr val="99CC0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71</TotalTime>
  <Words>364</Words>
  <Application>Microsoft Office PowerPoint</Application>
  <PresentationFormat>Widescreen</PresentationFormat>
  <Paragraphs>117</Paragraphs>
  <Slides>1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Arial</vt:lpstr>
      <vt:lpstr>Calibri</vt:lpstr>
      <vt:lpstr>Calibri Light</vt:lpstr>
      <vt:lpstr>Symbol</vt:lpstr>
      <vt:lpstr>Texta</vt:lpstr>
      <vt:lpstr>Wingdings</vt:lpstr>
      <vt:lpstr>Office Theme</vt:lpstr>
      <vt:lpstr>2_SOFTING_Industrial_neu</vt:lpstr>
      <vt:lpstr>Inhaltsangab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ataFEED OPC Suite  The “all in one” Data Integration Solution</vt:lpstr>
      <vt:lpstr>The “All-in-one” Data Integration Solution </vt:lpstr>
      <vt:lpstr>How to sell dataFEED OPC Sui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d Gropp</dc:creator>
  <cp:lastModifiedBy>Joel Austin</cp:lastModifiedBy>
  <cp:revision>2</cp:revision>
  <dcterms:created xsi:type="dcterms:W3CDTF">2023-01-03T15:30:37Z</dcterms:created>
  <dcterms:modified xsi:type="dcterms:W3CDTF">2023-03-23T12:43:48Z</dcterms:modified>
</cp:coreProperties>
</file>